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95" r:id="rId2"/>
  </p:sldMasterIdLst>
  <p:notesMasterIdLst>
    <p:notesMasterId r:id="rId34"/>
  </p:notesMasterIdLst>
  <p:handoutMasterIdLst>
    <p:handoutMasterId r:id="rId35"/>
  </p:handoutMasterIdLst>
  <p:sldIdLst>
    <p:sldId id="320" r:id="rId3"/>
    <p:sldId id="499" r:id="rId4"/>
    <p:sldId id="472" r:id="rId5"/>
    <p:sldId id="473" r:id="rId6"/>
    <p:sldId id="513" r:id="rId7"/>
    <p:sldId id="514" r:id="rId8"/>
    <p:sldId id="474" r:id="rId9"/>
    <p:sldId id="390" r:id="rId10"/>
    <p:sldId id="322" r:id="rId11"/>
    <p:sldId id="476" r:id="rId12"/>
    <p:sldId id="475" r:id="rId13"/>
    <p:sldId id="340" r:id="rId14"/>
    <p:sldId id="501" r:id="rId15"/>
    <p:sldId id="506" r:id="rId16"/>
    <p:sldId id="507" r:id="rId17"/>
    <p:sldId id="341" r:id="rId18"/>
    <p:sldId id="346" r:id="rId19"/>
    <p:sldId id="504" r:id="rId20"/>
    <p:sldId id="505" r:id="rId21"/>
    <p:sldId id="347" r:id="rId22"/>
    <p:sldId id="466" r:id="rId23"/>
    <p:sldId id="429" r:id="rId24"/>
    <p:sldId id="456" r:id="rId25"/>
    <p:sldId id="457" r:id="rId26"/>
    <p:sldId id="458" r:id="rId27"/>
    <p:sldId id="459" r:id="rId28"/>
    <p:sldId id="511" r:id="rId29"/>
    <p:sldId id="512" r:id="rId30"/>
    <p:sldId id="502" r:id="rId31"/>
    <p:sldId id="336" r:id="rId32"/>
    <p:sldId id="311" r:id="rId3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kempeneer Erik" initials="DE" lastIdx="1" clrIdx="0">
    <p:extLst>
      <p:ext uri="{19B8F6BF-5375-455C-9EA6-DF929625EA0E}">
        <p15:presenceInfo xmlns:p15="http://schemas.microsoft.com/office/powerpoint/2012/main" userId="S-1-5-21-2143564435-1125984783-857296014-42025" providerId="AD"/>
      </p:ext>
    </p:extLst>
  </p:cmAuthor>
  <p:cmAuthor id="2" name="Ulrich Dorda" initials="UD" lastIdx="6" clrIdx="1">
    <p:extLst>
      <p:ext uri="{19B8F6BF-5375-455C-9EA6-DF929625EA0E}">
        <p15:presenceInfo xmlns:p15="http://schemas.microsoft.com/office/powerpoint/2012/main" userId="S-1-5-21-2143564435-1125984783-857296014-4137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1E4AEA4-8DFA-4A89-87EB-49C32662AFE0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327" autoAdjust="0"/>
    <p:restoredTop sz="94717" autoAdjust="0"/>
  </p:normalViewPr>
  <p:slideViewPr>
    <p:cSldViewPr snapToGrid="0">
      <p:cViewPr varScale="1">
        <p:scale>
          <a:sx n="73" d="100"/>
          <a:sy n="73" d="100"/>
        </p:scale>
        <p:origin x="618" y="6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390"/>
    </p:cViewPr>
  </p:sorterViewPr>
  <p:notesViewPr>
    <p:cSldViewPr snapToGrid="0" showGuides="1">
      <p:cViewPr varScale="1">
        <p:scale>
          <a:sx n="66" d="100"/>
          <a:sy n="66" d="100"/>
        </p:scale>
        <p:origin x="313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4">
  <dgm:title val=""/>
  <dgm:desc val=""/>
  <dgm:catLst>
    <dgm:cat type="accent6" pri="11400"/>
  </dgm:catLst>
  <dgm:styleLbl name="node0">
    <dgm:fillClrLst meth="cycle">
      <a:schemeClr val="accent6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6">
        <a:shade val="50000"/>
      </a:schemeClr>
      <a:schemeClr val="accent6">
        <a:tint val="55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/>
    <dgm:txEffectClrLst/>
  </dgm:styleLbl>
  <dgm:styleLbl name="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6">
        <a:shade val="80000"/>
        <a:alpha val="5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55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51B0F5C-20DE-420D-85EC-4BFE4E79525D}" type="doc">
      <dgm:prSet loTypeId="urn:microsoft.com/office/officeart/2005/8/layout/orgChart1" loCatId="hierarchy" qsTypeId="urn:microsoft.com/office/officeart/2005/8/quickstyle/simple1" qsCatId="simple" csTypeId="urn:microsoft.com/office/officeart/2005/8/colors/accent6_4" csCatId="accent6" phldr="1"/>
      <dgm:spPr/>
      <dgm:t>
        <a:bodyPr/>
        <a:lstStyle/>
        <a:p>
          <a:endParaRPr lang="en-US"/>
        </a:p>
      </dgm:t>
    </dgm:pt>
    <dgm:pt modelId="{91A5C726-4DA1-41FD-928E-5252C3531386}">
      <dgm:prSet phldrT="[Text]" custT="1"/>
      <dgm:spPr>
        <a:xfrm>
          <a:off x="4427860" y="280582"/>
          <a:ext cx="665070" cy="332535"/>
        </a:xfrm>
        <a:prstGeom prst="rect">
          <a:avLst/>
        </a:prstGeom>
        <a:solidFill>
          <a:srgbClr val="4D4D4D">
            <a:shade val="6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MYRRHA accelerator (10)</a:t>
          </a:r>
        </a:p>
      </dgm:t>
    </dgm:pt>
    <dgm:pt modelId="{E7E96025-F12C-411A-B54E-B5F9DF84A19E}" type="parTrans" cxnId="{376959FD-A908-40EC-AA8D-9FCDA5DC20C6}">
      <dgm:prSet/>
      <dgm:spPr/>
      <dgm:t>
        <a:bodyPr/>
        <a:lstStyle/>
        <a:p>
          <a:endParaRPr lang="en-US" sz="700"/>
        </a:p>
      </dgm:t>
    </dgm:pt>
    <dgm:pt modelId="{6F560CE0-DEA2-438D-A683-751C7F4ABFBC}" type="sibTrans" cxnId="{376959FD-A908-40EC-AA8D-9FCDA5DC20C6}">
      <dgm:prSet/>
      <dgm:spPr/>
      <dgm:t>
        <a:bodyPr/>
        <a:lstStyle/>
        <a:p>
          <a:endParaRPr lang="en-US" sz="700"/>
        </a:p>
      </dgm:t>
    </dgm:pt>
    <dgm:pt modelId="{90B3C68B-2AA6-4159-A0AA-FFBD652962B2}">
      <dgm:prSet phldrT="[Text]" custT="1"/>
      <dgm:spPr>
        <a:xfrm>
          <a:off x="404183" y="752782"/>
          <a:ext cx="665070" cy="332535"/>
        </a:xfrm>
        <a:prstGeom prst="rect">
          <a:avLst/>
        </a:prstGeom>
        <a:solidFill>
          <a:srgbClr val="4D4D4D">
            <a:shade val="8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Injectors (1)</a:t>
          </a:r>
        </a:p>
      </dgm:t>
    </dgm:pt>
    <dgm:pt modelId="{71DDC489-CE35-4568-9520-E658C0DF1ABF}" type="parTrans" cxnId="{CDBF90D2-C3D8-4F59-B070-C198CA27355A}">
      <dgm:prSet/>
      <dgm:spPr>
        <a:xfrm>
          <a:off x="736718" y="613117"/>
          <a:ext cx="4023676" cy="139664"/>
        </a:xfrm>
        <a:custGeom>
          <a:avLst/>
          <a:gdLst/>
          <a:ahLst/>
          <a:cxnLst/>
          <a:rect l="0" t="0" r="0" b="0"/>
          <a:pathLst>
            <a:path>
              <a:moveTo>
                <a:pt x="4023676" y="0"/>
              </a:moveTo>
              <a:lnTo>
                <a:pt x="4023676" y="69832"/>
              </a:lnTo>
              <a:lnTo>
                <a:pt x="0" y="69832"/>
              </a:lnTo>
              <a:lnTo>
                <a:pt x="0" y="139664"/>
              </a:lnTo>
            </a:path>
          </a:pathLst>
        </a:custGeom>
        <a:noFill/>
        <a:ln w="19050" cap="flat" cmpd="sng" algn="ctr">
          <a:solidFill>
            <a:srgbClr val="4D4D4D">
              <a:tint val="9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5F9BB0B2-B89E-4376-8A40-579F09F3173F}" type="sibTrans" cxnId="{CDBF90D2-C3D8-4F59-B070-C198CA27355A}">
      <dgm:prSet/>
      <dgm:spPr/>
      <dgm:t>
        <a:bodyPr/>
        <a:lstStyle/>
        <a:p>
          <a:endParaRPr lang="en-US" sz="700"/>
        </a:p>
      </dgm:t>
    </dgm:pt>
    <dgm:pt modelId="{DFB03001-3E82-45A7-9099-08B55BEF9705}">
      <dgm:prSet phldrT="[Text]" custT="1"/>
      <dgm:spPr>
        <a:xfrm>
          <a:off x="404183" y="1697182"/>
          <a:ext cx="665070" cy="332535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Injector 1 </a:t>
          </a:r>
          <a:b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</a:br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(5.5){8}</a:t>
          </a:r>
        </a:p>
      </dgm:t>
    </dgm:pt>
    <dgm:pt modelId="{57B39B58-8E62-4546-93FE-5294F73AD5CB}" type="parTrans" cxnId="{10F57884-0718-4175-B5B0-2404109D1714}">
      <dgm:prSet/>
      <dgm:spPr>
        <a:xfrm>
          <a:off x="736718" y="1557517"/>
          <a:ext cx="402367" cy="139664"/>
        </a:xfrm>
        <a:custGeom>
          <a:avLst/>
          <a:gdLst/>
          <a:ahLst/>
          <a:cxnLst/>
          <a:rect l="0" t="0" r="0" b="0"/>
          <a:pathLst>
            <a:path>
              <a:moveTo>
                <a:pt x="402367" y="0"/>
              </a:moveTo>
              <a:lnTo>
                <a:pt x="402367" y="69832"/>
              </a:lnTo>
              <a:lnTo>
                <a:pt x="0" y="69832"/>
              </a:lnTo>
              <a:lnTo>
                <a:pt x="0" y="139664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8A19B0DA-FFCD-4C68-89B3-75787747FA03}" type="sibTrans" cxnId="{10F57884-0718-4175-B5B0-2404109D1714}">
      <dgm:prSet/>
      <dgm:spPr/>
      <dgm:t>
        <a:bodyPr/>
        <a:lstStyle/>
        <a:p>
          <a:endParaRPr lang="en-US" sz="700"/>
        </a:p>
      </dgm:t>
    </dgm:pt>
    <dgm:pt modelId="{C3E9A307-CC60-40FC-8B1F-5308BDFC4D45}">
      <dgm:prSet phldrT="[Text]" custT="1"/>
      <dgm:spPr>
        <a:xfrm>
          <a:off x="1208918" y="1697182"/>
          <a:ext cx="665070" cy="332535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Injector 2 </a:t>
          </a:r>
          <a:b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</a:br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(5.5){8}</a:t>
          </a:r>
        </a:p>
      </dgm:t>
    </dgm:pt>
    <dgm:pt modelId="{E1E2BAA2-BD90-4DF4-9127-14E29A71686D}" type="parTrans" cxnId="{F8BA617D-3C71-4C5C-9732-D524F89F472D}">
      <dgm:prSet/>
      <dgm:spPr>
        <a:xfrm>
          <a:off x="1139086" y="1557517"/>
          <a:ext cx="402367" cy="1396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9832"/>
              </a:lnTo>
              <a:lnTo>
                <a:pt x="402367" y="69832"/>
              </a:lnTo>
              <a:lnTo>
                <a:pt x="402367" y="139664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DFC57C3B-73FD-4973-AF5C-789AD738FF18}" type="sibTrans" cxnId="{F8BA617D-3C71-4C5C-9732-D524F89F472D}">
      <dgm:prSet/>
      <dgm:spPr/>
      <dgm:t>
        <a:bodyPr/>
        <a:lstStyle/>
        <a:p>
          <a:endParaRPr lang="en-US" sz="700"/>
        </a:p>
      </dgm:t>
    </dgm:pt>
    <dgm:pt modelId="{C9DF1206-2C13-45E9-92D4-845869EA4F11}">
      <dgm:prSet phldrT="[Text]" custT="1"/>
      <dgm:spPr>
        <a:xfrm>
          <a:off x="4629043" y="752782"/>
          <a:ext cx="665070" cy="332535"/>
        </a:xfrm>
        <a:prstGeom prst="rect">
          <a:avLst/>
        </a:prstGeom>
        <a:solidFill>
          <a:srgbClr val="4D4D4D">
            <a:shade val="8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Main LINAC (5)</a:t>
          </a:r>
        </a:p>
      </dgm:t>
    </dgm:pt>
    <dgm:pt modelId="{E420EF71-19F8-448A-9C42-1F5BF9924A53}" type="parTrans" cxnId="{A1F7DCA2-B619-4177-A8D8-528B6EE141F5}">
      <dgm:prSet/>
      <dgm:spPr>
        <a:xfrm>
          <a:off x="4760395" y="613117"/>
          <a:ext cx="201183" cy="1396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9832"/>
              </a:lnTo>
              <a:lnTo>
                <a:pt x="201183" y="69832"/>
              </a:lnTo>
              <a:lnTo>
                <a:pt x="201183" y="139664"/>
              </a:lnTo>
            </a:path>
          </a:pathLst>
        </a:custGeom>
        <a:noFill/>
        <a:ln w="19050" cap="flat" cmpd="sng" algn="ctr">
          <a:solidFill>
            <a:srgbClr val="4D4D4D">
              <a:tint val="9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085F174D-5F8F-4C0E-A73B-8530FBF3F32A}" type="sibTrans" cxnId="{A1F7DCA2-B619-4177-A8D8-528B6EE141F5}">
      <dgm:prSet/>
      <dgm:spPr/>
      <dgm:t>
        <a:bodyPr/>
        <a:lstStyle/>
        <a:p>
          <a:endParaRPr lang="en-US" sz="700"/>
        </a:p>
      </dgm:t>
    </dgm:pt>
    <dgm:pt modelId="{24D7B124-1020-4DEE-8A2B-9698D32CFBDB}">
      <dgm:prSet phldrT="[Text]" custT="1"/>
      <dgm:spPr>
        <a:xfrm>
          <a:off x="2013654" y="1697182"/>
          <a:ext cx="665070" cy="332535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[152] SRF (9.5)</a:t>
          </a:r>
        </a:p>
      </dgm:t>
    </dgm:pt>
    <dgm:pt modelId="{8E935561-48A0-4A05-920B-9DAF806CA9B4}" type="parTrans" cxnId="{63A520A8-F588-4BD7-A679-60B91AE62906}">
      <dgm:prSet/>
      <dgm:spPr>
        <a:xfrm>
          <a:off x="2346189" y="1557517"/>
          <a:ext cx="402367" cy="139664"/>
        </a:xfrm>
        <a:custGeom>
          <a:avLst/>
          <a:gdLst/>
          <a:ahLst/>
          <a:cxnLst/>
          <a:rect l="0" t="0" r="0" b="0"/>
          <a:pathLst>
            <a:path>
              <a:moveTo>
                <a:pt x="402367" y="0"/>
              </a:moveTo>
              <a:lnTo>
                <a:pt x="402367" y="69832"/>
              </a:lnTo>
              <a:lnTo>
                <a:pt x="0" y="69832"/>
              </a:lnTo>
              <a:lnTo>
                <a:pt x="0" y="139664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A3FDF6DD-BF6F-4A5E-943F-4F9A5DE3205F}" type="sibTrans" cxnId="{63A520A8-F588-4BD7-A679-60B91AE62906}">
      <dgm:prSet/>
      <dgm:spPr/>
      <dgm:t>
        <a:bodyPr/>
        <a:lstStyle/>
        <a:p>
          <a:endParaRPr lang="en-US" sz="700"/>
        </a:p>
      </dgm:t>
    </dgm:pt>
    <dgm:pt modelId="{8960A1BE-2172-40A2-9660-5EEA44EE629B}">
      <dgm:prSet phldrT="[Text]" custT="1"/>
      <dgm:spPr>
        <a:xfrm>
          <a:off x="7646801" y="752782"/>
          <a:ext cx="665070" cy="332535"/>
        </a:xfrm>
        <a:prstGeom prst="rect">
          <a:avLst/>
        </a:prstGeom>
        <a:solidFill>
          <a:srgbClr val="4D4D4D">
            <a:shade val="8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Infrastructure and Services (3.6)</a:t>
          </a:r>
        </a:p>
      </dgm:t>
    </dgm:pt>
    <dgm:pt modelId="{E7304D63-F1F7-4332-A325-CF0B2BA37C93}" type="parTrans" cxnId="{86ED374B-7600-4BA5-B360-D24569FA8026}">
      <dgm:prSet/>
      <dgm:spPr>
        <a:xfrm>
          <a:off x="4760395" y="613117"/>
          <a:ext cx="3218941" cy="1396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9832"/>
              </a:lnTo>
              <a:lnTo>
                <a:pt x="3218941" y="69832"/>
              </a:lnTo>
              <a:lnTo>
                <a:pt x="3218941" y="139664"/>
              </a:lnTo>
            </a:path>
          </a:pathLst>
        </a:custGeom>
        <a:noFill/>
        <a:ln w="19050" cap="flat" cmpd="sng" algn="ctr">
          <a:solidFill>
            <a:srgbClr val="4D4D4D">
              <a:tint val="9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D466C371-3083-4EAA-A50D-E2C50AC581B6}" type="sibTrans" cxnId="{86ED374B-7600-4BA5-B360-D24569FA8026}">
      <dgm:prSet/>
      <dgm:spPr/>
      <dgm:t>
        <a:bodyPr/>
        <a:lstStyle/>
        <a:p>
          <a:endParaRPr lang="en-US" sz="700"/>
        </a:p>
      </dgm:t>
    </dgm:pt>
    <dgm:pt modelId="{3EC98BA5-4865-4DF9-BDCF-9A708DE3B506}">
      <dgm:prSet phldrT="[Text]" custT="1"/>
      <dgm:spPr>
        <a:xfrm>
          <a:off x="2818389" y="1697182"/>
          <a:ext cx="665070" cy="332535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[58] SRF </a:t>
          </a:r>
          <a:r>
            <a:rPr lang="en-US" sz="700" dirty="0" err="1">
              <a:solidFill>
                <a:sysClr val="window" lastClr="FFFFFF"/>
              </a:solidFill>
              <a:latin typeface="Arial"/>
              <a:ea typeface="+mn-ea"/>
              <a:cs typeface="+mn-cs"/>
            </a:rPr>
            <a:t>Cryo</a:t>
          </a:r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-module (0.5)</a:t>
          </a:r>
        </a:p>
      </dgm:t>
    </dgm:pt>
    <dgm:pt modelId="{701F1A19-AA2D-4B9F-9782-46D0B0BB35C4}" type="parTrans" cxnId="{3ADE8C0C-4856-4C22-AB4A-0B136BBEBD9C}">
      <dgm:prSet/>
      <dgm:spPr>
        <a:xfrm>
          <a:off x="2748556" y="1557517"/>
          <a:ext cx="402367" cy="1396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9832"/>
              </a:lnTo>
              <a:lnTo>
                <a:pt x="402367" y="69832"/>
              </a:lnTo>
              <a:lnTo>
                <a:pt x="402367" y="139664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1529844E-B3EC-4AD1-9485-6FC63059264B}" type="sibTrans" cxnId="{3ADE8C0C-4856-4C22-AB4A-0B136BBEBD9C}">
      <dgm:prSet/>
      <dgm:spPr/>
      <dgm:t>
        <a:bodyPr/>
        <a:lstStyle/>
        <a:p>
          <a:endParaRPr lang="en-US" sz="700"/>
        </a:p>
      </dgm:t>
    </dgm:pt>
    <dgm:pt modelId="{31504482-6EF6-4923-B2B5-41F02EA3176F}">
      <dgm:prSet phldrT="[Text]" custT="1"/>
      <dgm:spPr>
        <a:xfrm>
          <a:off x="4427860" y="1697182"/>
          <a:ext cx="665070" cy="332535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[59] Quad- doublets (5)</a:t>
          </a:r>
        </a:p>
      </dgm:t>
    </dgm:pt>
    <dgm:pt modelId="{B48DD13F-85DB-4D65-AE78-9E0FC2793AAC}" type="parTrans" cxnId="{BB5065B5-BB6F-4B70-B74B-9B1CCA41CD40}">
      <dgm:prSet/>
      <dgm:spPr>
        <a:xfrm>
          <a:off x="4714675" y="1557517"/>
          <a:ext cx="91440" cy="139664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39664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563FECC0-0853-4893-97D5-0876965352FC}" type="sibTrans" cxnId="{BB5065B5-BB6F-4B70-B74B-9B1CCA41CD40}">
      <dgm:prSet/>
      <dgm:spPr/>
      <dgm:t>
        <a:bodyPr/>
        <a:lstStyle/>
        <a:p>
          <a:endParaRPr lang="en-US" sz="700"/>
        </a:p>
      </dgm:t>
    </dgm:pt>
    <dgm:pt modelId="{9E492584-87CF-47D0-AC51-7ABC1B0D1F60}">
      <dgm:prSet phldrT="[Text]" custT="1"/>
      <dgm:spPr>
        <a:xfrm>
          <a:off x="6037330" y="1224982"/>
          <a:ext cx="665070" cy="332535"/>
        </a:xfrm>
        <a:prstGeom prst="rect">
          <a:avLst/>
        </a:prstGeom>
        <a:solidFill>
          <a:srgbClr val="4D4D4D">
            <a:tint val="99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BI (0.25)</a:t>
          </a:r>
        </a:p>
      </dgm:t>
    </dgm:pt>
    <dgm:pt modelId="{AED5CB8B-B8CB-4778-8BD5-73F5B18C3B30}" type="parTrans" cxnId="{D7905029-AA1B-49F1-BD30-55261EF29B25}">
      <dgm:prSet/>
      <dgm:spPr>
        <a:xfrm>
          <a:off x="4961579" y="1085317"/>
          <a:ext cx="1408286" cy="1396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9832"/>
              </a:lnTo>
              <a:lnTo>
                <a:pt x="1408286" y="69832"/>
              </a:lnTo>
              <a:lnTo>
                <a:pt x="1408286" y="139664"/>
              </a:lnTo>
            </a:path>
          </a:pathLst>
        </a:custGeom>
        <a:noFill/>
        <a:ln w="19050" cap="flat" cmpd="sng" algn="ctr">
          <a:solidFill>
            <a:srgbClr val="4D4D4D">
              <a:tint val="7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74029F9A-7F1E-4BBB-A4E0-91496D32C8AF}" type="sibTrans" cxnId="{D7905029-AA1B-49F1-BD30-55261EF29B25}">
      <dgm:prSet/>
      <dgm:spPr/>
      <dgm:t>
        <a:bodyPr/>
        <a:lstStyle/>
        <a:p>
          <a:endParaRPr lang="en-US" sz="700"/>
        </a:p>
      </dgm:t>
    </dgm:pt>
    <dgm:pt modelId="{A4BC3542-6708-4B7A-A5E7-9D07F79CE753}">
      <dgm:prSet phldrT="[Text]" custT="1"/>
      <dgm:spPr>
        <a:xfrm>
          <a:off x="7813069" y="1697182"/>
          <a:ext cx="665070" cy="332535"/>
        </a:xfrm>
        <a:prstGeom prst="rect">
          <a:avLst/>
        </a:prstGeom>
        <a:solidFill>
          <a:srgbClr val="4D4D4D">
            <a:tint val="99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Electrical network (1)</a:t>
          </a:r>
        </a:p>
      </dgm:t>
    </dgm:pt>
    <dgm:pt modelId="{319E5FD1-84FC-47DF-8CEF-1AA46A92A777}" type="parTrans" cxnId="{362A84A8-F1A8-4070-9C55-9329EE9DCCC4}">
      <dgm:prSet/>
      <dgm:spPr>
        <a:xfrm>
          <a:off x="7713308" y="1085317"/>
          <a:ext cx="99760" cy="7781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78132"/>
              </a:lnTo>
              <a:lnTo>
                <a:pt x="99760" y="778132"/>
              </a:lnTo>
            </a:path>
          </a:pathLst>
        </a:custGeom>
        <a:noFill/>
        <a:ln w="19050" cap="flat" cmpd="sng" algn="ctr">
          <a:solidFill>
            <a:srgbClr val="4D4D4D">
              <a:tint val="7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68CFECCA-3393-4918-8CB0-773AB5FE0884}" type="sibTrans" cxnId="{362A84A8-F1A8-4070-9C55-9329EE9DCCC4}">
      <dgm:prSet/>
      <dgm:spPr/>
      <dgm:t>
        <a:bodyPr/>
        <a:lstStyle/>
        <a:p>
          <a:endParaRPr lang="en-US" sz="700"/>
        </a:p>
      </dgm:t>
    </dgm:pt>
    <dgm:pt modelId="{68F80057-DEAC-4C02-AE1A-0215C151A172}">
      <dgm:prSet custT="1"/>
      <dgm:spPr>
        <a:xfrm>
          <a:off x="7813069" y="2169382"/>
          <a:ext cx="665070" cy="332535"/>
        </a:xfrm>
        <a:prstGeom prst="rect">
          <a:avLst/>
        </a:prstGeom>
        <a:solidFill>
          <a:srgbClr val="4D4D4D">
            <a:tint val="99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Cooling plant &amp; ventilation (0.25)</a:t>
          </a:r>
        </a:p>
      </dgm:t>
    </dgm:pt>
    <dgm:pt modelId="{6B991C2C-C0FE-4348-9745-6D089550655E}" type="parTrans" cxnId="{1D0485D6-5138-42A8-8951-28CF77994FF3}">
      <dgm:prSet/>
      <dgm:spPr>
        <a:xfrm>
          <a:off x="7713308" y="1085317"/>
          <a:ext cx="99760" cy="12503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50332"/>
              </a:lnTo>
              <a:lnTo>
                <a:pt x="99760" y="1250332"/>
              </a:lnTo>
            </a:path>
          </a:pathLst>
        </a:custGeom>
        <a:noFill/>
        <a:ln w="19050" cap="flat" cmpd="sng" algn="ctr">
          <a:solidFill>
            <a:srgbClr val="4D4D4D">
              <a:tint val="7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F6D6F5A8-4769-428E-95F2-76A6C71296AD}" type="sibTrans" cxnId="{1D0485D6-5138-42A8-8951-28CF77994FF3}">
      <dgm:prSet/>
      <dgm:spPr/>
      <dgm:t>
        <a:bodyPr/>
        <a:lstStyle/>
        <a:p>
          <a:endParaRPr lang="en-US" sz="700"/>
        </a:p>
      </dgm:t>
    </dgm:pt>
    <dgm:pt modelId="{254DA9DE-FD56-4B80-98E4-A5D3B68E885B}">
      <dgm:prSet custT="1"/>
      <dgm:spPr>
        <a:xfrm>
          <a:off x="7813069" y="2641582"/>
          <a:ext cx="665070" cy="332535"/>
        </a:xfrm>
        <a:prstGeom prst="rect">
          <a:avLst/>
        </a:prstGeom>
        <a:solidFill>
          <a:srgbClr val="4D4D4D">
            <a:tint val="99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 err="1">
              <a:solidFill>
                <a:sysClr val="window" lastClr="FFFFFF"/>
              </a:solidFill>
              <a:latin typeface="Arial"/>
              <a:ea typeface="+mn-ea"/>
              <a:cs typeface="+mn-cs"/>
            </a:rPr>
            <a:t>Cryo</a:t>
          </a:r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 plant &amp; distribution (0.75)</a:t>
          </a:r>
        </a:p>
      </dgm:t>
    </dgm:pt>
    <dgm:pt modelId="{279E7FA2-E087-4B0F-BAA7-CC72112B84A7}" type="parTrans" cxnId="{980459C9-8D21-4E17-A603-68ACBB075DAA}">
      <dgm:prSet/>
      <dgm:spPr>
        <a:xfrm>
          <a:off x="7713308" y="1085317"/>
          <a:ext cx="99760" cy="17225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22532"/>
              </a:lnTo>
              <a:lnTo>
                <a:pt x="99760" y="1722532"/>
              </a:lnTo>
            </a:path>
          </a:pathLst>
        </a:custGeom>
        <a:noFill/>
        <a:ln w="19050" cap="flat" cmpd="sng" algn="ctr">
          <a:solidFill>
            <a:srgbClr val="4D4D4D">
              <a:tint val="7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C8DE14E4-42B7-4A52-83BA-5F928ECC71F7}" type="sibTrans" cxnId="{980459C9-8D21-4E17-A603-68ACBB075DAA}">
      <dgm:prSet/>
      <dgm:spPr/>
      <dgm:t>
        <a:bodyPr/>
        <a:lstStyle/>
        <a:p>
          <a:endParaRPr lang="en-US" sz="700"/>
        </a:p>
      </dgm:t>
    </dgm:pt>
    <dgm:pt modelId="{87A0796A-2009-4411-9D29-83BEA9810E93}">
      <dgm:prSet custT="1"/>
      <dgm:spPr>
        <a:xfrm>
          <a:off x="7813069" y="3113782"/>
          <a:ext cx="665070" cy="332535"/>
        </a:xfrm>
        <a:prstGeom prst="rect">
          <a:avLst/>
        </a:prstGeom>
        <a:solidFill>
          <a:srgbClr val="4D4D4D">
            <a:tint val="99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Pressurized air (0.1)</a:t>
          </a:r>
        </a:p>
      </dgm:t>
    </dgm:pt>
    <dgm:pt modelId="{07C03D6E-8E54-4D7E-86C3-FD55FAF905C1}" type="parTrans" cxnId="{229D1434-C70F-4F2A-A2F3-3B510B21FF1B}">
      <dgm:prSet/>
      <dgm:spPr>
        <a:xfrm>
          <a:off x="7713308" y="1085317"/>
          <a:ext cx="99760" cy="21947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94732"/>
              </a:lnTo>
              <a:lnTo>
                <a:pt x="99760" y="2194732"/>
              </a:lnTo>
            </a:path>
          </a:pathLst>
        </a:custGeom>
        <a:noFill/>
        <a:ln w="19050" cap="flat" cmpd="sng" algn="ctr">
          <a:solidFill>
            <a:srgbClr val="4D4D4D">
              <a:tint val="7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24796165-2DA6-4763-929C-7846A3E13483}" type="sibTrans" cxnId="{229D1434-C70F-4F2A-A2F3-3B510B21FF1B}">
      <dgm:prSet/>
      <dgm:spPr/>
      <dgm:t>
        <a:bodyPr/>
        <a:lstStyle/>
        <a:p>
          <a:endParaRPr lang="en-US" sz="700"/>
        </a:p>
      </dgm:t>
    </dgm:pt>
    <dgm:pt modelId="{CEA4C3C4-026F-41B9-B4BF-ED1C1C9CE7D8}">
      <dgm:prSet custT="1"/>
      <dgm:spPr>
        <a:xfrm>
          <a:off x="7813069" y="3585982"/>
          <a:ext cx="665070" cy="332535"/>
        </a:xfrm>
        <a:prstGeom prst="rect">
          <a:avLst/>
        </a:prstGeom>
        <a:solidFill>
          <a:srgbClr val="4D4D4D">
            <a:tint val="99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IT services (0.5)</a:t>
          </a:r>
        </a:p>
      </dgm:t>
    </dgm:pt>
    <dgm:pt modelId="{1BDAF70C-1665-4E89-BBDD-F30E0A7E6491}" type="parTrans" cxnId="{6DB5CB24-0872-41D8-9719-AEF4034F7B89}">
      <dgm:prSet/>
      <dgm:spPr>
        <a:xfrm>
          <a:off x="7713308" y="1085317"/>
          <a:ext cx="99760" cy="26669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66932"/>
              </a:lnTo>
              <a:lnTo>
                <a:pt x="99760" y="2666932"/>
              </a:lnTo>
            </a:path>
          </a:pathLst>
        </a:custGeom>
        <a:noFill/>
        <a:ln w="19050" cap="flat" cmpd="sng" algn="ctr">
          <a:solidFill>
            <a:srgbClr val="4D4D4D">
              <a:tint val="7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1C2DC2D1-7F28-4D8D-8DC6-C7DB717A62F3}" type="sibTrans" cxnId="{6DB5CB24-0872-41D8-9719-AEF4034F7B89}">
      <dgm:prSet/>
      <dgm:spPr/>
      <dgm:t>
        <a:bodyPr/>
        <a:lstStyle/>
        <a:p>
          <a:endParaRPr lang="en-US" sz="700"/>
        </a:p>
      </dgm:t>
    </dgm:pt>
    <dgm:pt modelId="{3FA6DDC6-2579-4669-BD4D-31D05D4195BA}">
      <dgm:prSet phldrT="[Text]" custT="1"/>
      <dgm:spPr>
        <a:xfrm>
          <a:off x="2984657" y="2169382"/>
          <a:ext cx="665070" cy="332535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[58] Valve box (0.2)</a:t>
          </a:r>
        </a:p>
      </dgm:t>
    </dgm:pt>
    <dgm:pt modelId="{C694F70B-9CC1-42D3-9B5A-E56FDDC56051}" type="parTrans" cxnId="{3FC92B21-243E-46B4-80CF-3C4C4610B896}">
      <dgm:prSet/>
      <dgm:spPr>
        <a:xfrm>
          <a:off x="2884896" y="2029717"/>
          <a:ext cx="99760" cy="3059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5932"/>
              </a:lnTo>
              <a:lnTo>
                <a:pt x="99760" y="3059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1E4396A0-B113-4D2C-8374-ACF801DBD111}" type="sibTrans" cxnId="{3FC92B21-243E-46B4-80CF-3C4C4610B896}">
      <dgm:prSet/>
      <dgm:spPr/>
      <dgm:t>
        <a:bodyPr/>
        <a:lstStyle/>
        <a:p>
          <a:endParaRPr lang="en-US" sz="700"/>
        </a:p>
      </dgm:t>
    </dgm:pt>
    <dgm:pt modelId="{C684F114-DA67-4901-A34F-2CF310102D34}">
      <dgm:prSet phldrT="[Text]" custT="1"/>
      <dgm:spPr>
        <a:xfrm>
          <a:off x="2984657" y="2641582"/>
          <a:ext cx="665070" cy="332535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[58] Cryostat (0.3)</a:t>
          </a:r>
        </a:p>
      </dgm:t>
    </dgm:pt>
    <dgm:pt modelId="{001BE4AD-54EB-460E-827E-7C9DD12B8FD8}" type="parTrans" cxnId="{8B5AEA21-24A3-43DA-AF3F-9A8E270E6A2D}">
      <dgm:prSet/>
      <dgm:spPr>
        <a:xfrm>
          <a:off x="2884896" y="2029717"/>
          <a:ext cx="99760" cy="7781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78132"/>
              </a:lnTo>
              <a:lnTo>
                <a:pt x="99760" y="7781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DF3F9ADA-D500-4FED-B12C-EEA4E051754A}" type="sibTrans" cxnId="{8B5AEA21-24A3-43DA-AF3F-9A8E270E6A2D}">
      <dgm:prSet/>
      <dgm:spPr/>
      <dgm:t>
        <a:bodyPr/>
        <a:lstStyle/>
        <a:p>
          <a:endParaRPr lang="en-US" sz="700"/>
        </a:p>
      </dgm:t>
    </dgm:pt>
    <dgm:pt modelId="{30260A2D-7B25-4B68-9C1B-480B68AE11ED}">
      <dgm:prSet phldrT="[Text]" custT="1"/>
      <dgm:spPr>
        <a:xfrm>
          <a:off x="2179921" y="2169382"/>
          <a:ext cx="665070" cy="332535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[152] Powering (2.5)</a:t>
          </a:r>
        </a:p>
      </dgm:t>
    </dgm:pt>
    <dgm:pt modelId="{85DDF844-FF29-486D-8205-47C256C5AE38}" type="parTrans" cxnId="{AC6B796D-006C-4552-8444-2AD8CF636116}">
      <dgm:prSet/>
      <dgm:spPr>
        <a:xfrm>
          <a:off x="2080161" y="2029717"/>
          <a:ext cx="99760" cy="3059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5932"/>
              </a:lnTo>
              <a:lnTo>
                <a:pt x="99760" y="3059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4CA9DAD2-6BA9-4406-ADAE-CA7165C30CFC}" type="sibTrans" cxnId="{AC6B796D-006C-4552-8444-2AD8CF636116}">
      <dgm:prSet/>
      <dgm:spPr/>
      <dgm:t>
        <a:bodyPr/>
        <a:lstStyle/>
        <a:p>
          <a:endParaRPr lang="en-US" sz="700"/>
        </a:p>
      </dgm:t>
    </dgm:pt>
    <dgm:pt modelId="{56680C78-835D-4053-ABBB-855DFDCCDE19}">
      <dgm:prSet phldrT="[Text]" custT="1"/>
      <dgm:spPr>
        <a:xfrm>
          <a:off x="2179921" y="2641582"/>
          <a:ext cx="665070" cy="332535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[152] Feeder, circulator, coupler (2)</a:t>
          </a:r>
        </a:p>
      </dgm:t>
    </dgm:pt>
    <dgm:pt modelId="{A123C4D6-F063-4942-87C0-E66F1294AF4B}" type="parTrans" cxnId="{7778B6E8-2704-42A6-A7FF-85AD5EAC29CD}">
      <dgm:prSet/>
      <dgm:spPr>
        <a:xfrm>
          <a:off x="2080161" y="2029717"/>
          <a:ext cx="99760" cy="7781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78132"/>
              </a:lnTo>
              <a:lnTo>
                <a:pt x="99760" y="7781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F99DCD63-0BA0-4E11-ADF9-3959274F76FF}" type="sibTrans" cxnId="{7778B6E8-2704-42A6-A7FF-85AD5EAC29CD}">
      <dgm:prSet/>
      <dgm:spPr/>
      <dgm:t>
        <a:bodyPr/>
        <a:lstStyle/>
        <a:p>
          <a:endParaRPr lang="en-US" sz="700"/>
        </a:p>
      </dgm:t>
    </dgm:pt>
    <dgm:pt modelId="{A128DEFB-08B6-48F7-B05E-9EABA1A44A35}">
      <dgm:prSet phldrT="[Text]" custT="1"/>
      <dgm:spPr>
        <a:xfrm>
          <a:off x="2179921" y="3113782"/>
          <a:ext cx="665070" cy="332535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[152] Cavity &amp; tuning (2.5)</a:t>
          </a:r>
        </a:p>
      </dgm:t>
    </dgm:pt>
    <dgm:pt modelId="{3FC5AD23-1231-4CAF-A7E8-0626A975BFCD}" type="parTrans" cxnId="{614C88AA-4148-499A-9E7C-051E5A781FF3}">
      <dgm:prSet/>
      <dgm:spPr>
        <a:xfrm>
          <a:off x="2080161" y="2029717"/>
          <a:ext cx="99760" cy="12503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50332"/>
              </a:lnTo>
              <a:lnTo>
                <a:pt x="99760" y="12503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24681266-3542-41D1-B47D-7C70AEED9F8D}" type="sibTrans" cxnId="{614C88AA-4148-499A-9E7C-051E5A781FF3}">
      <dgm:prSet/>
      <dgm:spPr/>
      <dgm:t>
        <a:bodyPr/>
        <a:lstStyle/>
        <a:p>
          <a:endParaRPr lang="en-US" sz="700"/>
        </a:p>
      </dgm:t>
    </dgm:pt>
    <dgm:pt modelId="{E12020A9-E5A6-4332-9BE2-01D1FD812EFA}">
      <dgm:prSet phldrT="[Text]" custT="1"/>
      <dgm:spPr>
        <a:xfrm>
          <a:off x="2179921" y="3585982"/>
          <a:ext cx="665070" cy="332535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[152] LLRF (2.5)</a:t>
          </a:r>
        </a:p>
      </dgm:t>
    </dgm:pt>
    <dgm:pt modelId="{51A5E9A5-B4B0-499A-A83F-31AFC07EB876}" type="parTrans" cxnId="{4C56C1DB-208F-4890-9A2D-A7924265BD95}">
      <dgm:prSet/>
      <dgm:spPr>
        <a:xfrm>
          <a:off x="2080161" y="2029717"/>
          <a:ext cx="99760" cy="17225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22532"/>
              </a:lnTo>
              <a:lnTo>
                <a:pt x="99760" y="17225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C590E799-8A78-47BB-B15C-E8345C78B07D}" type="sibTrans" cxnId="{4C56C1DB-208F-4890-9A2D-A7924265BD95}">
      <dgm:prSet/>
      <dgm:spPr/>
      <dgm:t>
        <a:bodyPr/>
        <a:lstStyle/>
        <a:p>
          <a:endParaRPr lang="en-US" sz="700"/>
        </a:p>
      </dgm:t>
    </dgm:pt>
    <dgm:pt modelId="{44D9A562-B06B-4B38-ADAF-4E9CDBF6E28B}">
      <dgm:prSet phldrT="[Text]" custT="1"/>
      <dgm:spPr>
        <a:xfrm>
          <a:off x="4594127" y="2169382"/>
          <a:ext cx="665070" cy="332535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[59] Converters (3)</a:t>
          </a:r>
        </a:p>
      </dgm:t>
    </dgm:pt>
    <dgm:pt modelId="{E8FBC739-CED9-446D-B14F-4B2B279C1260}" type="parTrans" cxnId="{B53F0522-54DC-4DAF-BBB6-4616D1F97396}">
      <dgm:prSet/>
      <dgm:spPr>
        <a:xfrm>
          <a:off x="4494367" y="2029717"/>
          <a:ext cx="99760" cy="3059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5932"/>
              </a:lnTo>
              <a:lnTo>
                <a:pt x="99760" y="3059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B534EB5D-F87A-4255-A7ED-F96897E65F89}" type="sibTrans" cxnId="{B53F0522-54DC-4DAF-BBB6-4616D1F97396}">
      <dgm:prSet/>
      <dgm:spPr/>
      <dgm:t>
        <a:bodyPr/>
        <a:lstStyle/>
        <a:p>
          <a:endParaRPr lang="en-US" sz="700"/>
        </a:p>
      </dgm:t>
    </dgm:pt>
    <dgm:pt modelId="{13FA9A54-B373-4151-9206-8BBD3F79AE56}">
      <dgm:prSet phldrT="[Text]" custT="1"/>
      <dgm:spPr>
        <a:xfrm>
          <a:off x="4594127" y="2641582"/>
          <a:ext cx="665070" cy="332535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Cabling and connectors (1.8)</a:t>
          </a:r>
        </a:p>
      </dgm:t>
    </dgm:pt>
    <dgm:pt modelId="{46DFDA5E-08B4-497B-B70A-A26C94A8404B}" type="parTrans" cxnId="{7915095A-0A25-4594-81D7-8F75326CD857}">
      <dgm:prSet/>
      <dgm:spPr>
        <a:xfrm>
          <a:off x="4494367" y="2029717"/>
          <a:ext cx="99760" cy="7781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78132"/>
              </a:lnTo>
              <a:lnTo>
                <a:pt x="99760" y="7781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A4403D21-942F-4E60-A0CA-E6755628B27C}" type="sibTrans" cxnId="{7915095A-0A25-4594-81D7-8F75326CD857}">
      <dgm:prSet/>
      <dgm:spPr/>
      <dgm:t>
        <a:bodyPr/>
        <a:lstStyle/>
        <a:p>
          <a:endParaRPr lang="en-US" sz="700"/>
        </a:p>
      </dgm:t>
    </dgm:pt>
    <dgm:pt modelId="{3068F8E5-FCAA-410C-88A7-9AE766296E8C}">
      <dgm:prSet phldrT="[Text]" custT="1"/>
      <dgm:spPr>
        <a:xfrm>
          <a:off x="4594127" y="3113782"/>
          <a:ext cx="665070" cy="332535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[59] Doublet Magnets (0.2)</a:t>
          </a:r>
        </a:p>
      </dgm:t>
    </dgm:pt>
    <dgm:pt modelId="{94613D70-2B88-4AD9-82F2-27BDA6E0C71A}" type="parTrans" cxnId="{97A2E60F-4956-46B2-BF87-298F9F9887DA}">
      <dgm:prSet/>
      <dgm:spPr>
        <a:xfrm>
          <a:off x="4494367" y="2029717"/>
          <a:ext cx="99760" cy="12503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50332"/>
              </a:lnTo>
              <a:lnTo>
                <a:pt x="99760" y="12503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7DD69898-E0E5-40CE-989C-FDE3C284B1C7}" type="sibTrans" cxnId="{97A2E60F-4956-46B2-BF87-298F9F9887DA}">
      <dgm:prSet/>
      <dgm:spPr/>
      <dgm:t>
        <a:bodyPr/>
        <a:lstStyle/>
        <a:p>
          <a:endParaRPr lang="en-US" sz="700"/>
        </a:p>
      </dgm:t>
    </dgm:pt>
    <dgm:pt modelId="{68BAB508-D1AF-4EF8-89F5-7C722B5A8640}">
      <dgm:prSet phldrT="[Text]" custT="1"/>
      <dgm:spPr>
        <a:xfrm>
          <a:off x="7813069" y="1224982"/>
          <a:ext cx="665070" cy="332535"/>
        </a:xfrm>
        <a:prstGeom prst="rect">
          <a:avLst/>
        </a:prstGeom>
        <a:solidFill>
          <a:srgbClr val="4D4D4D">
            <a:tint val="99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Controls and Timing (1)</a:t>
          </a:r>
        </a:p>
      </dgm:t>
    </dgm:pt>
    <dgm:pt modelId="{D3F8F215-B090-4C4B-8953-C389691940C4}" type="parTrans" cxnId="{95B13CC8-6189-4EC3-8B3A-D2D0AB83860A}">
      <dgm:prSet/>
      <dgm:spPr>
        <a:xfrm>
          <a:off x="7713308" y="1085317"/>
          <a:ext cx="99760" cy="3059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5932"/>
              </a:lnTo>
              <a:lnTo>
                <a:pt x="99760" y="305932"/>
              </a:lnTo>
            </a:path>
          </a:pathLst>
        </a:custGeom>
        <a:noFill/>
        <a:ln w="19050" cap="flat" cmpd="sng" algn="ctr">
          <a:solidFill>
            <a:srgbClr val="4D4D4D">
              <a:tint val="7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9F07DADD-B6B7-4231-82C8-5B985139E7BA}" type="sibTrans" cxnId="{95B13CC8-6189-4EC3-8B3A-D2D0AB83860A}">
      <dgm:prSet/>
      <dgm:spPr/>
      <dgm:t>
        <a:bodyPr/>
        <a:lstStyle/>
        <a:p>
          <a:endParaRPr lang="en-US" sz="700"/>
        </a:p>
      </dgm:t>
    </dgm:pt>
    <dgm:pt modelId="{E016896C-96D3-4257-BCB1-B74BD57CCA46}">
      <dgm:prSet phldrT="[Text]" custT="1"/>
      <dgm:spPr>
        <a:xfrm>
          <a:off x="570451" y="2641582"/>
          <a:ext cx="665070" cy="332535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LEBT (1)</a:t>
          </a:r>
        </a:p>
      </dgm:t>
    </dgm:pt>
    <dgm:pt modelId="{195C712F-D521-453E-89E6-67454440EF54}" type="parTrans" cxnId="{BF1C9AD3-FA9B-42E3-B341-52BB5F650DDE}">
      <dgm:prSet/>
      <dgm:spPr>
        <a:xfrm>
          <a:off x="470690" y="2029717"/>
          <a:ext cx="99760" cy="7781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78132"/>
              </a:lnTo>
              <a:lnTo>
                <a:pt x="99760" y="7781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73FD9691-C633-4B6B-BFC4-059D51B7B1C2}" type="sibTrans" cxnId="{BF1C9AD3-FA9B-42E3-B341-52BB5F650DDE}">
      <dgm:prSet/>
      <dgm:spPr/>
      <dgm:t>
        <a:bodyPr/>
        <a:lstStyle/>
        <a:p>
          <a:endParaRPr lang="en-US" sz="700"/>
        </a:p>
      </dgm:t>
    </dgm:pt>
    <dgm:pt modelId="{8399BA40-3857-4858-B885-115A2954ADCE}">
      <dgm:prSet phldrT="[Text]" custT="1"/>
      <dgm:spPr>
        <a:xfrm>
          <a:off x="570451" y="3113782"/>
          <a:ext cx="665070" cy="332535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RFQ (1)</a:t>
          </a:r>
        </a:p>
      </dgm:t>
    </dgm:pt>
    <dgm:pt modelId="{97F53900-51D6-42C4-A7A4-B29EC3BBD80C}" type="parTrans" cxnId="{6F5FCBCE-200A-4DC5-9C23-80D3A106AB17}">
      <dgm:prSet/>
      <dgm:spPr>
        <a:xfrm>
          <a:off x="470690" y="2029717"/>
          <a:ext cx="99760" cy="12503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50332"/>
              </a:lnTo>
              <a:lnTo>
                <a:pt x="99760" y="12503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C674F37F-EA62-4809-B4D1-D6917E7D11E6}" type="sibTrans" cxnId="{6F5FCBCE-200A-4DC5-9C23-80D3A106AB17}">
      <dgm:prSet/>
      <dgm:spPr/>
      <dgm:t>
        <a:bodyPr/>
        <a:lstStyle/>
        <a:p>
          <a:endParaRPr lang="en-US" sz="700"/>
        </a:p>
      </dgm:t>
    </dgm:pt>
    <dgm:pt modelId="{806E8472-E0D4-425A-89B0-B9E0DF527BC1}">
      <dgm:prSet phldrT="[Text]" custT="1"/>
      <dgm:spPr>
        <a:xfrm>
          <a:off x="570451" y="4530382"/>
          <a:ext cx="665070" cy="332535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Vacuum (0.25)</a:t>
          </a:r>
        </a:p>
      </dgm:t>
    </dgm:pt>
    <dgm:pt modelId="{ADC976E7-5857-44A2-B524-51ED4816ADF6}" type="parTrans" cxnId="{145F9D98-0AA5-4151-BEA1-930187C49216}">
      <dgm:prSet/>
      <dgm:spPr>
        <a:xfrm>
          <a:off x="470690" y="2029717"/>
          <a:ext cx="99760" cy="26669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66932"/>
              </a:lnTo>
              <a:lnTo>
                <a:pt x="99760" y="26669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37F0BD31-CCC0-4D61-A6F1-1690BF7154A3}" type="sibTrans" cxnId="{145F9D98-0AA5-4151-BEA1-930187C49216}">
      <dgm:prSet/>
      <dgm:spPr/>
      <dgm:t>
        <a:bodyPr/>
        <a:lstStyle/>
        <a:p>
          <a:endParaRPr lang="en-US" sz="700"/>
        </a:p>
      </dgm:t>
    </dgm:pt>
    <dgm:pt modelId="{F4AA74D6-445A-473C-8EED-0D4C03CF89D8}">
      <dgm:prSet custT="1"/>
      <dgm:spPr>
        <a:xfrm>
          <a:off x="8451536" y="752782"/>
          <a:ext cx="665070" cy="332535"/>
        </a:xfrm>
        <a:prstGeom prst="rect">
          <a:avLst/>
        </a:prstGeom>
        <a:solidFill>
          <a:srgbClr val="4D4D4D">
            <a:shade val="8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Operation &amp; maintenance (0.2)</a:t>
          </a:r>
        </a:p>
      </dgm:t>
    </dgm:pt>
    <dgm:pt modelId="{4B1FA76D-2738-4D54-8CD0-29ED3A58890D}" type="parTrans" cxnId="{BAB2C4EC-2202-476C-A7AF-D6E150546BA5}">
      <dgm:prSet/>
      <dgm:spPr>
        <a:xfrm>
          <a:off x="4760395" y="613117"/>
          <a:ext cx="4023676" cy="1396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9832"/>
              </a:lnTo>
              <a:lnTo>
                <a:pt x="4023676" y="69832"/>
              </a:lnTo>
              <a:lnTo>
                <a:pt x="4023676" y="139664"/>
              </a:lnTo>
            </a:path>
          </a:pathLst>
        </a:custGeom>
        <a:noFill/>
        <a:ln w="19050" cap="flat" cmpd="sng" algn="ctr">
          <a:solidFill>
            <a:srgbClr val="4D4D4D">
              <a:tint val="9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9D8C0802-AC38-45AE-AFAB-8F8CC0CAB7BA}" type="sibTrans" cxnId="{BAB2C4EC-2202-476C-A7AF-D6E150546BA5}">
      <dgm:prSet/>
      <dgm:spPr/>
      <dgm:t>
        <a:bodyPr/>
        <a:lstStyle/>
        <a:p>
          <a:endParaRPr lang="en-US" sz="700"/>
        </a:p>
      </dgm:t>
    </dgm:pt>
    <dgm:pt modelId="{5B91B124-3EDB-475C-BD87-427CBEE2FF98}">
      <dgm:prSet phldrT="[Text]" custT="1"/>
      <dgm:spPr>
        <a:xfrm>
          <a:off x="6842066" y="1224982"/>
          <a:ext cx="665070" cy="332535"/>
        </a:xfrm>
        <a:prstGeom prst="rect">
          <a:avLst/>
        </a:prstGeom>
        <a:solidFill>
          <a:srgbClr val="4D4D4D">
            <a:tint val="99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Non-redundant kickers and magnets (0.1)</a:t>
          </a:r>
        </a:p>
      </dgm:t>
    </dgm:pt>
    <dgm:pt modelId="{37418383-A740-4C4B-A926-98506A94BD7E}" type="parTrans" cxnId="{E2CD7DA6-4646-4FE2-B1B5-06CF699EFD14}">
      <dgm:prSet/>
      <dgm:spPr>
        <a:xfrm>
          <a:off x="4961579" y="1085317"/>
          <a:ext cx="2213022" cy="1396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9832"/>
              </a:lnTo>
              <a:lnTo>
                <a:pt x="2213022" y="69832"/>
              </a:lnTo>
              <a:lnTo>
                <a:pt x="2213022" y="139664"/>
              </a:lnTo>
            </a:path>
          </a:pathLst>
        </a:custGeom>
        <a:noFill/>
        <a:ln w="19050" cap="flat" cmpd="sng" algn="ctr">
          <a:solidFill>
            <a:srgbClr val="4D4D4D">
              <a:tint val="7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8505AF16-BAA4-4E11-B8C3-738D70FE65A2}" type="sibTrans" cxnId="{E2CD7DA6-4646-4FE2-B1B5-06CF699EFD14}">
      <dgm:prSet/>
      <dgm:spPr/>
      <dgm:t>
        <a:bodyPr/>
        <a:lstStyle/>
        <a:p>
          <a:endParaRPr lang="en-US" sz="700"/>
        </a:p>
      </dgm:t>
    </dgm:pt>
    <dgm:pt modelId="{3F799660-74D7-47FC-A345-F1BB9C30CA95}">
      <dgm:prSet phldrT="[Text]" custT="1"/>
      <dgm:spPr>
        <a:xfrm>
          <a:off x="7008333" y="1697182"/>
          <a:ext cx="665070" cy="332535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Kickers 100 MeV (0.001)</a:t>
          </a:r>
        </a:p>
      </dgm:t>
    </dgm:pt>
    <dgm:pt modelId="{D4140428-E23E-405D-BA59-2AC81AC7A63D}" type="parTrans" cxnId="{FBEC0EF9-C06F-400C-98FC-AE5E00970D8F}">
      <dgm:prSet/>
      <dgm:spPr>
        <a:xfrm>
          <a:off x="6908573" y="1557517"/>
          <a:ext cx="99760" cy="3059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5932"/>
              </a:lnTo>
              <a:lnTo>
                <a:pt x="99760" y="3059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00E3DB93-9820-47B4-AC2A-A6A228578F45}" type="sibTrans" cxnId="{FBEC0EF9-C06F-400C-98FC-AE5E00970D8F}">
      <dgm:prSet/>
      <dgm:spPr/>
      <dgm:t>
        <a:bodyPr/>
        <a:lstStyle/>
        <a:p>
          <a:endParaRPr lang="en-US" sz="700"/>
        </a:p>
      </dgm:t>
    </dgm:pt>
    <dgm:pt modelId="{9DCDFD14-FD74-48D3-9FE4-B40348DC9740}">
      <dgm:prSet phldrT="[Text]" custT="1"/>
      <dgm:spPr>
        <a:xfrm>
          <a:off x="7008333" y="2169382"/>
          <a:ext cx="665070" cy="332535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Dipole 600 MeV (0.099)</a:t>
          </a:r>
        </a:p>
      </dgm:t>
    </dgm:pt>
    <dgm:pt modelId="{9C9FF87D-5DA9-4490-8674-96B6D48B71B8}" type="parTrans" cxnId="{6C48D0D3-0C7D-48BB-ACB6-11BB55A5494F}">
      <dgm:prSet/>
      <dgm:spPr>
        <a:xfrm>
          <a:off x="6908573" y="1557517"/>
          <a:ext cx="99760" cy="7781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78132"/>
              </a:lnTo>
              <a:lnTo>
                <a:pt x="99760" y="7781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CE7BFF12-0F71-4A56-AA3D-881F40E3A62C}" type="sibTrans" cxnId="{6C48D0D3-0C7D-48BB-ACB6-11BB55A5494F}">
      <dgm:prSet/>
      <dgm:spPr/>
      <dgm:t>
        <a:bodyPr/>
        <a:lstStyle/>
        <a:p>
          <a:endParaRPr lang="en-US" sz="700"/>
        </a:p>
      </dgm:t>
    </dgm:pt>
    <dgm:pt modelId="{D2DB2E3D-602B-4893-A2D9-57860639AEB7}">
      <dgm:prSet phldrT="[Text]" custT="1"/>
      <dgm:spPr>
        <a:xfrm>
          <a:off x="570451" y="2169382"/>
          <a:ext cx="665070" cy="332535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Source (0.75)</a:t>
          </a:r>
        </a:p>
      </dgm:t>
    </dgm:pt>
    <dgm:pt modelId="{E4B105B5-E3FD-43B5-8B36-8A615E256692}" type="parTrans" cxnId="{BB64E99B-A723-455F-AC6E-A6091850966D}">
      <dgm:prSet/>
      <dgm:spPr>
        <a:xfrm>
          <a:off x="470690" y="2029717"/>
          <a:ext cx="99760" cy="3059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5932"/>
              </a:lnTo>
              <a:lnTo>
                <a:pt x="99760" y="3059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8D5B6A26-E2D7-4179-8887-BFABA081C7EB}" type="sibTrans" cxnId="{BB64E99B-A723-455F-AC6E-A6091850966D}">
      <dgm:prSet/>
      <dgm:spPr/>
      <dgm:t>
        <a:bodyPr/>
        <a:lstStyle/>
        <a:p>
          <a:endParaRPr lang="en-US" sz="700"/>
        </a:p>
      </dgm:t>
    </dgm:pt>
    <dgm:pt modelId="{9DED8379-65AB-4839-8381-B4FAC6FB5663}">
      <dgm:prSet phldrT="[Text]" custT="1"/>
      <dgm:spPr>
        <a:xfrm>
          <a:off x="806551" y="1224982"/>
          <a:ext cx="665070" cy="332535"/>
        </a:xfrm>
        <a:prstGeom prst="rect">
          <a:avLst/>
        </a:prstGeom>
        <a:solidFill>
          <a:srgbClr val="4D4D4D">
            <a:tint val="99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Injector switching </a:t>
          </a:r>
          <a:b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</a:br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(0.95) &lt; 92% &gt;</a:t>
          </a:r>
        </a:p>
      </dgm:t>
    </dgm:pt>
    <dgm:pt modelId="{F2A04CE1-010E-40D3-9764-4F32979EB251}" type="parTrans" cxnId="{B53F7608-EEA8-480E-8655-1357AC157D88}">
      <dgm:prSet/>
      <dgm:spPr>
        <a:xfrm>
          <a:off x="736718" y="1085317"/>
          <a:ext cx="402367" cy="1396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9832"/>
              </a:lnTo>
              <a:lnTo>
                <a:pt x="402367" y="69832"/>
              </a:lnTo>
              <a:lnTo>
                <a:pt x="402367" y="139664"/>
              </a:lnTo>
            </a:path>
          </a:pathLst>
        </a:custGeom>
        <a:noFill/>
        <a:ln w="19050" cap="flat" cmpd="sng" algn="ctr">
          <a:solidFill>
            <a:srgbClr val="4D4D4D">
              <a:tint val="7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91475D2D-1A51-419A-AB1C-16083614F0AF}" type="sibTrans" cxnId="{B53F7608-EEA8-480E-8655-1357AC157D88}">
      <dgm:prSet/>
      <dgm:spPr/>
      <dgm:t>
        <a:bodyPr/>
        <a:lstStyle/>
        <a:p>
          <a:endParaRPr lang="en-US" sz="700"/>
        </a:p>
      </dgm:t>
    </dgm:pt>
    <dgm:pt modelId="{BE26FEAC-D8E6-4859-AF1B-7F1AEEBBE9CC}">
      <dgm:prSet phldrT="[Text]" custT="1"/>
      <dgm:spPr>
        <a:xfrm>
          <a:off x="2416021" y="1224982"/>
          <a:ext cx="665070" cy="332535"/>
        </a:xfrm>
        <a:prstGeom prst="rect">
          <a:avLst/>
        </a:prstGeom>
        <a:solidFill>
          <a:srgbClr val="4D4D4D">
            <a:tint val="99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Dynamic compensation </a:t>
          </a:r>
          <a:b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</a:br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(3.3) &lt; 66% &gt;</a:t>
          </a:r>
        </a:p>
      </dgm:t>
    </dgm:pt>
    <dgm:pt modelId="{639B54AF-78A3-4B9E-8DEC-7E91C2CB6B29}" type="parTrans" cxnId="{E73ABA1A-9F11-4806-96CF-AB72ED05E49B}">
      <dgm:prSet/>
      <dgm:spPr>
        <a:xfrm>
          <a:off x="2748556" y="1085317"/>
          <a:ext cx="2213022" cy="139664"/>
        </a:xfrm>
        <a:custGeom>
          <a:avLst/>
          <a:gdLst/>
          <a:ahLst/>
          <a:cxnLst/>
          <a:rect l="0" t="0" r="0" b="0"/>
          <a:pathLst>
            <a:path>
              <a:moveTo>
                <a:pt x="2213022" y="0"/>
              </a:moveTo>
              <a:lnTo>
                <a:pt x="2213022" y="69832"/>
              </a:lnTo>
              <a:lnTo>
                <a:pt x="0" y="69832"/>
              </a:lnTo>
              <a:lnTo>
                <a:pt x="0" y="139664"/>
              </a:lnTo>
            </a:path>
          </a:pathLst>
        </a:custGeom>
        <a:noFill/>
        <a:ln w="19050" cap="flat" cmpd="sng" algn="ctr">
          <a:solidFill>
            <a:srgbClr val="4D4D4D">
              <a:tint val="7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E9EB577B-A38B-42A6-ADFA-06896E8F6E5F}" type="sibTrans" cxnId="{E73ABA1A-9F11-4806-96CF-AB72ED05E49B}">
      <dgm:prSet/>
      <dgm:spPr/>
      <dgm:t>
        <a:bodyPr/>
        <a:lstStyle/>
        <a:p>
          <a:endParaRPr lang="en-US" sz="700"/>
        </a:p>
      </dgm:t>
    </dgm:pt>
    <dgm:pt modelId="{69E85980-7616-41D1-A3C5-AE979E086485}">
      <dgm:prSet phldrT="[Text]" custT="1"/>
      <dgm:spPr>
        <a:xfrm>
          <a:off x="4427860" y="1224982"/>
          <a:ext cx="665070" cy="332535"/>
        </a:xfrm>
        <a:prstGeom prst="rect">
          <a:avLst/>
        </a:prstGeom>
        <a:solidFill>
          <a:srgbClr val="4D4D4D">
            <a:tint val="99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Quad – Matrix / Compensation </a:t>
          </a:r>
          <a:r>
            <a:rPr lang="de-DE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&lt;80%&gt; </a:t>
          </a:r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(1)</a:t>
          </a:r>
        </a:p>
      </dgm:t>
    </dgm:pt>
    <dgm:pt modelId="{4BAF4DE6-8549-4AEB-893C-88DFB81788BF}" type="parTrans" cxnId="{D2AB27A0-FA23-4550-9AA9-32664AE20969}">
      <dgm:prSet/>
      <dgm:spPr>
        <a:xfrm>
          <a:off x="4760395" y="1085317"/>
          <a:ext cx="201183" cy="139664"/>
        </a:xfrm>
        <a:custGeom>
          <a:avLst/>
          <a:gdLst/>
          <a:ahLst/>
          <a:cxnLst/>
          <a:rect l="0" t="0" r="0" b="0"/>
          <a:pathLst>
            <a:path>
              <a:moveTo>
                <a:pt x="201183" y="0"/>
              </a:moveTo>
              <a:lnTo>
                <a:pt x="201183" y="69832"/>
              </a:lnTo>
              <a:lnTo>
                <a:pt x="0" y="69832"/>
              </a:lnTo>
              <a:lnTo>
                <a:pt x="0" y="139664"/>
              </a:lnTo>
            </a:path>
          </a:pathLst>
        </a:custGeom>
        <a:noFill/>
        <a:ln w="19050" cap="flat" cmpd="sng" algn="ctr">
          <a:solidFill>
            <a:srgbClr val="4D4D4D">
              <a:tint val="7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24783A9F-FDFE-446C-875A-931DA9A87DC2}" type="sibTrans" cxnId="{D2AB27A0-FA23-4550-9AA9-32664AE20969}">
      <dgm:prSet/>
      <dgm:spPr/>
      <dgm:t>
        <a:bodyPr/>
        <a:lstStyle/>
        <a:p>
          <a:endParaRPr lang="en-US" sz="700"/>
        </a:p>
      </dgm:t>
    </dgm:pt>
    <dgm:pt modelId="{760A34FC-D186-4C3F-9A9D-5328B04D3677}">
      <dgm:prSet phldrT="[Text]" custT="1"/>
      <dgm:spPr>
        <a:xfrm>
          <a:off x="1815" y="1224982"/>
          <a:ext cx="665070" cy="332535"/>
        </a:xfrm>
        <a:prstGeom prst="rect">
          <a:avLst/>
        </a:prstGeom>
        <a:solidFill>
          <a:srgbClr val="4D4D4D">
            <a:tint val="99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Switching magnet (0.05)</a:t>
          </a:r>
        </a:p>
      </dgm:t>
    </dgm:pt>
    <dgm:pt modelId="{45ED52AD-6436-4E01-A064-7B44546AF22A}" type="parTrans" cxnId="{D842068C-5FA7-4F41-84A2-25484638BC69}">
      <dgm:prSet/>
      <dgm:spPr>
        <a:xfrm>
          <a:off x="334350" y="1085317"/>
          <a:ext cx="402367" cy="139664"/>
        </a:xfrm>
        <a:custGeom>
          <a:avLst/>
          <a:gdLst/>
          <a:ahLst/>
          <a:cxnLst/>
          <a:rect l="0" t="0" r="0" b="0"/>
          <a:pathLst>
            <a:path>
              <a:moveTo>
                <a:pt x="402367" y="0"/>
              </a:moveTo>
              <a:lnTo>
                <a:pt x="402367" y="69832"/>
              </a:lnTo>
              <a:lnTo>
                <a:pt x="0" y="69832"/>
              </a:lnTo>
              <a:lnTo>
                <a:pt x="0" y="139664"/>
              </a:lnTo>
            </a:path>
          </a:pathLst>
        </a:custGeom>
        <a:noFill/>
        <a:ln w="19050" cap="flat" cmpd="sng" algn="ctr">
          <a:solidFill>
            <a:srgbClr val="4D4D4D">
              <a:tint val="7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76223F45-23CE-493B-AEF1-42F975A819B3}" type="sibTrans" cxnId="{D842068C-5FA7-4F41-84A2-25484638BC69}">
      <dgm:prSet/>
      <dgm:spPr/>
      <dgm:t>
        <a:bodyPr/>
        <a:lstStyle/>
        <a:p>
          <a:endParaRPr lang="en-US" sz="700"/>
        </a:p>
      </dgm:t>
    </dgm:pt>
    <dgm:pt modelId="{DFAA7F3C-B3D4-4C21-8880-E6C6C4CB87B3}">
      <dgm:prSet phldrT="[Text]" custT="1"/>
      <dgm:spPr>
        <a:xfrm>
          <a:off x="5232595" y="1224982"/>
          <a:ext cx="665070" cy="332535"/>
        </a:xfrm>
        <a:prstGeom prst="rect">
          <a:avLst/>
        </a:prstGeom>
        <a:solidFill>
          <a:srgbClr val="4D4D4D">
            <a:tint val="99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Vacuum (0.25)</a:t>
          </a:r>
        </a:p>
      </dgm:t>
    </dgm:pt>
    <dgm:pt modelId="{76638C63-D3C4-4C28-BAB5-4E2F6019346F}" type="parTrans" cxnId="{6AA53095-8942-4DBE-BD3F-541377FE4E09}">
      <dgm:prSet/>
      <dgm:spPr>
        <a:xfrm>
          <a:off x="4961579" y="1085317"/>
          <a:ext cx="603551" cy="1396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9832"/>
              </a:lnTo>
              <a:lnTo>
                <a:pt x="603551" y="69832"/>
              </a:lnTo>
              <a:lnTo>
                <a:pt x="603551" y="139664"/>
              </a:lnTo>
            </a:path>
          </a:pathLst>
        </a:custGeom>
        <a:noFill/>
        <a:ln w="19050" cap="flat" cmpd="sng" algn="ctr">
          <a:solidFill>
            <a:srgbClr val="4D4D4D">
              <a:tint val="7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4D515CE9-2B7F-4B30-BB03-EB9AE9CF790F}" type="sibTrans" cxnId="{6AA53095-8942-4DBE-BD3F-541377FE4E09}">
      <dgm:prSet/>
      <dgm:spPr/>
      <dgm:t>
        <a:bodyPr/>
        <a:lstStyle/>
        <a:p>
          <a:endParaRPr lang="en-US" sz="700"/>
        </a:p>
      </dgm:t>
    </dgm:pt>
    <dgm:pt modelId="{B4C6B8A1-6B42-4393-AD33-DBE81AAAE9EC}">
      <dgm:prSet phldrT="[Text]" custT="1"/>
      <dgm:spPr>
        <a:xfrm>
          <a:off x="3456857" y="1224982"/>
          <a:ext cx="665070" cy="332535"/>
        </a:xfrm>
        <a:prstGeom prst="rect">
          <a:avLst/>
        </a:prstGeom>
        <a:solidFill>
          <a:srgbClr val="4D4D4D">
            <a:tint val="99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Non-redundant RF &amp; </a:t>
          </a:r>
          <a:r>
            <a:rPr lang="en-US" sz="700" dirty="0" err="1">
              <a:solidFill>
                <a:sysClr val="window" lastClr="FFFFFF"/>
              </a:solidFill>
              <a:latin typeface="Arial"/>
              <a:ea typeface="+mn-ea"/>
              <a:cs typeface="+mn-cs"/>
            </a:rPr>
            <a:t>Cryo</a:t>
          </a:r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 (0.1)</a:t>
          </a:r>
        </a:p>
      </dgm:t>
    </dgm:pt>
    <dgm:pt modelId="{C6194110-3940-4293-B2E7-0A9DCCD2A3AA}" type="parTrans" cxnId="{5E3C36C0-1AB1-4037-A78C-862712D0B3E5}">
      <dgm:prSet/>
      <dgm:spPr>
        <a:xfrm>
          <a:off x="3789392" y="1085317"/>
          <a:ext cx="1172186" cy="139664"/>
        </a:xfrm>
        <a:custGeom>
          <a:avLst/>
          <a:gdLst/>
          <a:ahLst/>
          <a:cxnLst/>
          <a:rect l="0" t="0" r="0" b="0"/>
          <a:pathLst>
            <a:path>
              <a:moveTo>
                <a:pt x="1172186" y="0"/>
              </a:moveTo>
              <a:lnTo>
                <a:pt x="1172186" y="69832"/>
              </a:lnTo>
              <a:lnTo>
                <a:pt x="0" y="69832"/>
              </a:lnTo>
              <a:lnTo>
                <a:pt x="0" y="139664"/>
              </a:lnTo>
            </a:path>
          </a:pathLst>
        </a:custGeom>
        <a:noFill/>
        <a:ln w="19050" cap="flat" cmpd="sng" algn="ctr">
          <a:solidFill>
            <a:srgbClr val="4D4D4D">
              <a:tint val="7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0D03D7CC-7B74-4168-A672-EE840C937895}" type="sibTrans" cxnId="{5E3C36C0-1AB1-4037-A78C-862712D0B3E5}">
      <dgm:prSet/>
      <dgm:spPr/>
      <dgm:t>
        <a:bodyPr/>
        <a:lstStyle/>
        <a:p>
          <a:endParaRPr lang="en-US" sz="700"/>
        </a:p>
      </dgm:t>
    </dgm:pt>
    <dgm:pt modelId="{B0673CA1-0787-4663-ABDD-63A97B531C63}">
      <dgm:prSet phldrT="[Text]" custT="1"/>
      <dgm:spPr>
        <a:xfrm>
          <a:off x="3623124" y="1697182"/>
          <a:ext cx="665070" cy="332535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[1] </a:t>
          </a:r>
          <a:r>
            <a:rPr lang="en-US" sz="700" dirty="0" err="1">
              <a:solidFill>
                <a:sysClr val="window" lastClr="FFFFFF"/>
              </a:solidFill>
              <a:latin typeface="Arial"/>
              <a:ea typeface="+mn-ea"/>
              <a:cs typeface="+mn-cs"/>
            </a:rPr>
            <a:t>Rebuncher</a:t>
          </a:r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 100 MeV (0.1)</a:t>
          </a:r>
        </a:p>
      </dgm:t>
    </dgm:pt>
    <dgm:pt modelId="{6CC360CB-D18A-4B99-9C3D-EDB6BC29A253}" type="parTrans" cxnId="{B7561515-B58C-4260-9C18-31E1A65B58E0}">
      <dgm:prSet/>
      <dgm:spPr>
        <a:xfrm>
          <a:off x="3523364" y="1557517"/>
          <a:ext cx="99760" cy="3059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5932"/>
              </a:lnTo>
              <a:lnTo>
                <a:pt x="99760" y="3059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F6E9C073-8675-4AC4-AAAC-75D295CB97C3}" type="sibTrans" cxnId="{B7561515-B58C-4260-9C18-31E1A65B58E0}">
      <dgm:prSet/>
      <dgm:spPr/>
      <dgm:t>
        <a:bodyPr/>
        <a:lstStyle/>
        <a:p>
          <a:endParaRPr lang="en-US" sz="700"/>
        </a:p>
      </dgm:t>
    </dgm:pt>
    <dgm:pt modelId="{4529D64E-4FB2-43E9-B771-14B87F36DB19}">
      <dgm:prSet phldrT="[Text]" custT="1"/>
      <dgm:spPr>
        <a:xfrm>
          <a:off x="1375186" y="2169382"/>
          <a:ext cx="665070" cy="332535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>
              <a:solidFill>
                <a:sysClr val="window" lastClr="FFFFFF"/>
              </a:solidFill>
              <a:latin typeface="Arial"/>
              <a:ea typeface="+mn-ea"/>
              <a:cs typeface="+mn-cs"/>
            </a:rPr>
            <a:t>Source (0.75)</a:t>
          </a:r>
          <a:endParaRPr lang="en-US" sz="700" dirty="0">
            <a:solidFill>
              <a:sysClr val="window" lastClr="FFFFFF"/>
            </a:solidFill>
            <a:latin typeface="Arial"/>
            <a:ea typeface="+mn-ea"/>
            <a:cs typeface="+mn-cs"/>
          </a:endParaRPr>
        </a:p>
      </dgm:t>
    </dgm:pt>
    <dgm:pt modelId="{5F0E1E8E-768C-48E8-B05A-68CEF943C19F}" type="parTrans" cxnId="{BD52FB71-937A-4319-B069-F8F1D09749BD}">
      <dgm:prSet/>
      <dgm:spPr>
        <a:xfrm>
          <a:off x="1275425" y="2029717"/>
          <a:ext cx="99760" cy="3059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5932"/>
              </a:lnTo>
              <a:lnTo>
                <a:pt x="99760" y="3059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FFF942B0-6857-4582-A350-C4EF24C3016E}" type="sibTrans" cxnId="{BD52FB71-937A-4319-B069-F8F1D09749BD}">
      <dgm:prSet/>
      <dgm:spPr/>
      <dgm:t>
        <a:bodyPr/>
        <a:lstStyle/>
        <a:p>
          <a:endParaRPr lang="en-US" sz="700"/>
        </a:p>
      </dgm:t>
    </dgm:pt>
    <dgm:pt modelId="{F04B21D9-C7BB-4EF5-9EFE-0940BF6DF841}">
      <dgm:prSet phldrT="[Text]" custT="1"/>
      <dgm:spPr>
        <a:xfrm>
          <a:off x="570451" y="3585982"/>
          <a:ext cx="665070" cy="332535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MEBT (1)</a:t>
          </a:r>
        </a:p>
      </dgm:t>
    </dgm:pt>
    <dgm:pt modelId="{AC8711FC-1F2C-4ECA-9982-9DF486A959D9}" type="parTrans" cxnId="{6A4A32EC-1269-4E75-8BAE-50F2B2C2D548}">
      <dgm:prSet/>
      <dgm:spPr>
        <a:xfrm>
          <a:off x="470690" y="2029717"/>
          <a:ext cx="99760" cy="17225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22532"/>
              </a:lnTo>
              <a:lnTo>
                <a:pt x="99760" y="17225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52917B61-D22B-4A17-A1D9-D7B36D3C4B81}" type="sibTrans" cxnId="{6A4A32EC-1269-4E75-8BAE-50F2B2C2D548}">
      <dgm:prSet/>
      <dgm:spPr/>
      <dgm:t>
        <a:bodyPr/>
        <a:lstStyle/>
        <a:p>
          <a:endParaRPr lang="en-US" sz="700"/>
        </a:p>
      </dgm:t>
    </dgm:pt>
    <dgm:pt modelId="{05D0271D-900A-42FF-BF29-A2B8284A2B9C}">
      <dgm:prSet phldrT="[Text]" custT="1"/>
      <dgm:spPr>
        <a:xfrm>
          <a:off x="570451" y="4058182"/>
          <a:ext cx="665070" cy="332535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CH (1.5)</a:t>
          </a:r>
        </a:p>
      </dgm:t>
    </dgm:pt>
    <dgm:pt modelId="{8A8D0E82-0430-4E95-9689-07EBDAF5D762}" type="parTrans" cxnId="{619CD328-08E0-4970-971B-205BD9CECD1E}">
      <dgm:prSet/>
      <dgm:spPr>
        <a:xfrm>
          <a:off x="470690" y="2029717"/>
          <a:ext cx="99760" cy="21947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94732"/>
              </a:lnTo>
              <a:lnTo>
                <a:pt x="99760" y="21947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 sz="700"/>
        </a:p>
      </dgm:t>
    </dgm:pt>
    <dgm:pt modelId="{7766FFC6-C22A-4AC2-A777-9F24DAB0DFED}" type="sibTrans" cxnId="{619CD328-08E0-4970-971B-205BD9CECD1E}">
      <dgm:prSet/>
      <dgm:spPr/>
      <dgm:t>
        <a:bodyPr/>
        <a:lstStyle/>
        <a:p>
          <a:endParaRPr lang="en-US" sz="700"/>
        </a:p>
      </dgm:t>
    </dgm:pt>
    <dgm:pt modelId="{F50C0774-F916-4DB7-A3FC-AB695AD4DBE2}">
      <dgm:prSet phldrT="[Text]" custT="1"/>
      <dgm:spPr>
        <a:xfrm>
          <a:off x="1375186" y="2641582"/>
          <a:ext cx="665070" cy="332535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LEBT (1)</a:t>
          </a:r>
        </a:p>
      </dgm:t>
    </dgm:pt>
    <dgm:pt modelId="{5F7D7930-63DD-4F4A-9618-1B810DA86551}" type="parTrans" cxnId="{7F8FB4BA-D8AC-43B2-B8CE-907685E32082}">
      <dgm:prSet/>
      <dgm:spPr>
        <a:xfrm>
          <a:off x="1275425" y="2029717"/>
          <a:ext cx="99760" cy="7781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78132"/>
              </a:lnTo>
              <a:lnTo>
                <a:pt x="99760" y="7781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/>
        </a:p>
      </dgm:t>
    </dgm:pt>
    <dgm:pt modelId="{B19CB1C7-A768-47EA-A482-8BE2229D5467}" type="sibTrans" cxnId="{7F8FB4BA-D8AC-43B2-B8CE-907685E32082}">
      <dgm:prSet/>
      <dgm:spPr/>
      <dgm:t>
        <a:bodyPr/>
        <a:lstStyle/>
        <a:p>
          <a:endParaRPr lang="en-US"/>
        </a:p>
      </dgm:t>
    </dgm:pt>
    <dgm:pt modelId="{C4D434CB-8496-4890-A48F-835758FFB141}">
      <dgm:prSet phldrT="[Text]" custT="1"/>
      <dgm:spPr>
        <a:xfrm>
          <a:off x="1375186" y="3113782"/>
          <a:ext cx="665070" cy="332535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RFQ (1)</a:t>
          </a:r>
        </a:p>
      </dgm:t>
    </dgm:pt>
    <dgm:pt modelId="{7FF22900-E338-4E42-BDFF-30B227E61B51}" type="parTrans" cxnId="{C24DE949-8D18-49BB-8822-F0E942388160}">
      <dgm:prSet/>
      <dgm:spPr>
        <a:xfrm>
          <a:off x="1275425" y="2029717"/>
          <a:ext cx="99760" cy="12503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50332"/>
              </a:lnTo>
              <a:lnTo>
                <a:pt x="99760" y="12503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/>
        </a:p>
      </dgm:t>
    </dgm:pt>
    <dgm:pt modelId="{96FD7310-3723-43C0-A3D0-C3F0B68286DB}" type="sibTrans" cxnId="{C24DE949-8D18-49BB-8822-F0E942388160}">
      <dgm:prSet/>
      <dgm:spPr/>
      <dgm:t>
        <a:bodyPr/>
        <a:lstStyle/>
        <a:p>
          <a:endParaRPr lang="en-US"/>
        </a:p>
      </dgm:t>
    </dgm:pt>
    <dgm:pt modelId="{B14F391A-8DE1-467D-B30A-494B0787F60C}">
      <dgm:prSet phldrT="[Text]" custT="1"/>
      <dgm:spPr>
        <a:xfrm>
          <a:off x="1375186" y="3585982"/>
          <a:ext cx="665070" cy="332535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MEBT (1)</a:t>
          </a:r>
        </a:p>
      </dgm:t>
    </dgm:pt>
    <dgm:pt modelId="{63B3BA05-D145-4830-B01E-A79972DD73D0}" type="parTrans" cxnId="{E04EA4A3-8A92-491B-B9E4-40B052A1AEEE}">
      <dgm:prSet/>
      <dgm:spPr>
        <a:xfrm>
          <a:off x="1275425" y="2029717"/>
          <a:ext cx="99760" cy="17225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22532"/>
              </a:lnTo>
              <a:lnTo>
                <a:pt x="99760" y="17225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/>
        </a:p>
      </dgm:t>
    </dgm:pt>
    <dgm:pt modelId="{A0931FDA-E216-4208-AF6B-D856741DA6B2}" type="sibTrans" cxnId="{E04EA4A3-8A92-491B-B9E4-40B052A1AEEE}">
      <dgm:prSet/>
      <dgm:spPr/>
      <dgm:t>
        <a:bodyPr/>
        <a:lstStyle/>
        <a:p>
          <a:endParaRPr lang="en-US"/>
        </a:p>
      </dgm:t>
    </dgm:pt>
    <dgm:pt modelId="{9BDE54EE-3945-4852-A375-00796B68EA21}">
      <dgm:prSet phldrT="[Text]" custT="1"/>
      <dgm:spPr>
        <a:xfrm>
          <a:off x="1375186" y="4058182"/>
          <a:ext cx="665070" cy="332535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CH (1.5)</a:t>
          </a:r>
        </a:p>
      </dgm:t>
    </dgm:pt>
    <dgm:pt modelId="{B7D4E461-616E-4038-9C04-46DB1AE02EB6}" type="parTrans" cxnId="{92C367BF-1801-4059-9B55-19FEA6080CAC}">
      <dgm:prSet/>
      <dgm:spPr>
        <a:xfrm>
          <a:off x="1275425" y="2029717"/>
          <a:ext cx="99760" cy="21947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94732"/>
              </a:lnTo>
              <a:lnTo>
                <a:pt x="99760" y="21947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/>
        </a:p>
      </dgm:t>
    </dgm:pt>
    <dgm:pt modelId="{524159A0-85D7-437C-AFF3-543E2EE62A6E}" type="sibTrans" cxnId="{92C367BF-1801-4059-9B55-19FEA6080CAC}">
      <dgm:prSet/>
      <dgm:spPr/>
      <dgm:t>
        <a:bodyPr/>
        <a:lstStyle/>
        <a:p>
          <a:endParaRPr lang="en-US"/>
        </a:p>
      </dgm:t>
    </dgm:pt>
    <dgm:pt modelId="{2CDFA5D8-E48C-4910-ADFB-6308A82EF005}">
      <dgm:prSet phldrT="[Text]" custT="1"/>
      <dgm:spPr>
        <a:xfrm>
          <a:off x="1375186" y="4530382"/>
          <a:ext cx="665070" cy="332535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Vacuum (0.25)</a:t>
          </a:r>
        </a:p>
      </dgm:t>
    </dgm:pt>
    <dgm:pt modelId="{7B0E03DA-2D51-461F-850D-3A2C0C37147B}" type="parTrans" cxnId="{4A9030CE-8DC8-4B67-87D9-C02E7711D260}">
      <dgm:prSet/>
      <dgm:spPr>
        <a:xfrm>
          <a:off x="1275425" y="2029717"/>
          <a:ext cx="99760" cy="26669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66932"/>
              </a:lnTo>
              <a:lnTo>
                <a:pt x="99760" y="26669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/>
        </a:p>
      </dgm:t>
    </dgm:pt>
    <dgm:pt modelId="{B6F97887-6A28-4AE3-AF7B-B629FD26006F}" type="sibTrans" cxnId="{4A9030CE-8DC8-4B67-87D9-C02E7711D260}">
      <dgm:prSet/>
      <dgm:spPr/>
      <dgm:t>
        <a:bodyPr/>
        <a:lstStyle/>
        <a:p>
          <a:endParaRPr lang="en-US"/>
        </a:p>
      </dgm:t>
    </dgm:pt>
    <dgm:pt modelId="{41EF5E40-B4DE-4611-9A77-93B4036804B7}">
      <dgm:prSet phldrT="[Text]" custT="1"/>
      <dgm:spPr>
        <a:xfrm>
          <a:off x="5433779" y="752782"/>
          <a:ext cx="665070" cy="332535"/>
        </a:xfrm>
        <a:prstGeom prst="rect">
          <a:avLst/>
        </a:prstGeom>
        <a:solidFill>
          <a:srgbClr val="4D4D4D">
            <a:shade val="8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7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BDS to reactor (0.2)</a:t>
          </a:r>
        </a:p>
      </dgm:t>
    </dgm:pt>
    <dgm:pt modelId="{7CF63899-1F8E-405E-BE5B-EA743A2FD6FD}" type="parTrans" cxnId="{1C279E29-04F4-4F96-9B29-0CD2885E7ED6}">
      <dgm:prSet/>
      <dgm:spPr>
        <a:xfrm>
          <a:off x="4760395" y="613117"/>
          <a:ext cx="1005919" cy="1396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9832"/>
              </a:lnTo>
              <a:lnTo>
                <a:pt x="1005919" y="69832"/>
              </a:lnTo>
              <a:lnTo>
                <a:pt x="1005919" y="139664"/>
              </a:lnTo>
            </a:path>
          </a:pathLst>
        </a:custGeom>
        <a:noFill/>
        <a:ln w="19050" cap="flat" cmpd="sng" algn="ctr">
          <a:solidFill>
            <a:srgbClr val="4D4D4D">
              <a:tint val="9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US"/>
        </a:p>
      </dgm:t>
    </dgm:pt>
    <dgm:pt modelId="{7A9B1CAD-DD9E-4395-AEA6-121E7FAC36F5}" type="sibTrans" cxnId="{1C279E29-04F4-4F96-9B29-0CD2885E7ED6}">
      <dgm:prSet/>
      <dgm:spPr/>
      <dgm:t>
        <a:bodyPr/>
        <a:lstStyle/>
        <a:p>
          <a:endParaRPr lang="en-US"/>
        </a:p>
      </dgm:t>
    </dgm:pt>
    <dgm:pt modelId="{125D1C61-5C23-45CD-8C28-38CD25BAFFCE}" type="pres">
      <dgm:prSet presAssocID="{751B0F5C-20DE-420D-85EC-4BFE4E79525D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5A7E60A3-B4B4-458C-B8DB-500A0569BFB2}" type="pres">
      <dgm:prSet presAssocID="{91A5C726-4DA1-41FD-928E-5252C3531386}" presName="hierRoot1" presStyleCnt="0">
        <dgm:presLayoutVars>
          <dgm:hierBranch val="init"/>
        </dgm:presLayoutVars>
      </dgm:prSet>
      <dgm:spPr/>
    </dgm:pt>
    <dgm:pt modelId="{0378D14A-FF1C-4487-8EF3-4911133ED14B}" type="pres">
      <dgm:prSet presAssocID="{91A5C726-4DA1-41FD-928E-5252C3531386}" presName="rootComposite1" presStyleCnt="0"/>
      <dgm:spPr/>
    </dgm:pt>
    <dgm:pt modelId="{25E8FFF0-DE1D-418E-987D-1801235E5D97}" type="pres">
      <dgm:prSet presAssocID="{91A5C726-4DA1-41FD-928E-5252C3531386}" presName="rootText1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5A25403-6745-4E04-891F-B13F37D5E39E}" type="pres">
      <dgm:prSet presAssocID="{91A5C726-4DA1-41FD-928E-5252C3531386}" presName="rootConnector1" presStyleLbl="node1" presStyleIdx="0" presStyleCnt="0"/>
      <dgm:spPr/>
      <dgm:t>
        <a:bodyPr/>
        <a:lstStyle/>
        <a:p>
          <a:endParaRPr lang="en-US"/>
        </a:p>
      </dgm:t>
    </dgm:pt>
    <dgm:pt modelId="{C139C701-8952-4151-8132-F5AA1053A8CC}" type="pres">
      <dgm:prSet presAssocID="{91A5C726-4DA1-41FD-928E-5252C3531386}" presName="hierChild2" presStyleCnt="0"/>
      <dgm:spPr/>
    </dgm:pt>
    <dgm:pt modelId="{B3D4565A-8D31-40DA-AB2A-5C22BCCFD57C}" type="pres">
      <dgm:prSet presAssocID="{71DDC489-CE35-4568-9520-E658C0DF1ABF}" presName="Name37" presStyleLbl="parChTrans1D2" presStyleIdx="0" presStyleCnt="5"/>
      <dgm:spPr/>
      <dgm:t>
        <a:bodyPr/>
        <a:lstStyle/>
        <a:p>
          <a:endParaRPr lang="en-US"/>
        </a:p>
      </dgm:t>
    </dgm:pt>
    <dgm:pt modelId="{D9DF4911-DCB0-4D11-AFC3-4BE6A1F0CDA0}" type="pres">
      <dgm:prSet presAssocID="{90B3C68B-2AA6-4159-A0AA-FFBD652962B2}" presName="hierRoot2" presStyleCnt="0">
        <dgm:presLayoutVars>
          <dgm:hierBranch val="init"/>
        </dgm:presLayoutVars>
      </dgm:prSet>
      <dgm:spPr/>
    </dgm:pt>
    <dgm:pt modelId="{4BEF51A0-F31F-41F5-9B38-1D8F1C0DAB2C}" type="pres">
      <dgm:prSet presAssocID="{90B3C68B-2AA6-4159-A0AA-FFBD652962B2}" presName="rootComposite" presStyleCnt="0"/>
      <dgm:spPr/>
    </dgm:pt>
    <dgm:pt modelId="{95D912E7-20C5-45D2-BFD0-AC39F856A70C}" type="pres">
      <dgm:prSet presAssocID="{90B3C68B-2AA6-4159-A0AA-FFBD652962B2}" presName="rootText" presStyleLbl="node2" presStyleIdx="0" presStyleCnt="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1AD877C-E2D1-409D-9D49-3A4030AC6494}" type="pres">
      <dgm:prSet presAssocID="{90B3C68B-2AA6-4159-A0AA-FFBD652962B2}" presName="rootConnector" presStyleLbl="node2" presStyleIdx="0" presStyleCnt="5"/>
      <dgm:spPr/>
      <dgm:t>
        <a:bodyPr/>
        <a:lstStyle/>
        <a:p>
          <a:endParaRPr lang="en-US"/>
        </a:p>
      </dgm:t>
    </dgm:pt>
    <dgm:pt modelId="{9282A475-A112-431F-A28A-90023CBC5EC7}" type="pres">
      <dgm:prSet presAssocID="{90B3C68B-2AA6-4159-A0AA-FFBD652962B2}" presName="hierChild4" presStyleCnt="0"/>
      <dgm:spPr/>
    </dgm:pt>
    <dgm:pt modelId="{02714CEB-6C55-42B2-AB86-92AEEF96FCB6}" type="pres">
      <dgm:prSet presAssocID="{45ED52AD-6436-4E01-A064-7B44546AF22A}" presName="Name37" presStyleLbl="parChTrans1D3" presStyleIdx="0" presStyleCnt="14"/>
      <dgm:spPr/>
      <dgm:t>
        <a:bodyPr/>
        <a:lstStyle/>
        <a:p>
          <a:endParaRPr lang="en-US"/>
        </a:p>
      </dgm:t>
    </dgm:pt>
    <dgm:pt modelId="{DFEBA0FD-B10A-4B31-9EFB-A382F4D66815}" type="pres">
      <dgm:prSet presAssocID="{760A34FC-D186-4C3F-9A9D-5328B04D3677}" presName="hierRoot2" presStyleCnt="0">
        <dgm:presLayoutVars>
          <dgm:hierBranch val="init"/>
        </dgm:presLayoutVars>
      </dgm:prSet>
      <dgm:spPr/>
    </dgm:pt>
    <dgm:pt modelId="{4ED515C3-AD83-43EA-AFCD-22E1539F0375}" type="pres">
      <dgm:prSet presAssocID="{760A34FC-D186-4C3F-9A9D-5328B04D3677}" presName="rootComposite" presStyleCnt="0"/>
      <dgm:spPr/>
    </dgm:pt>
    <dgm:pt modelId="{93C5A841-E5A0-40F1-9EB4-BD5F4C1E0F08}" type="pres">
      <dgm:prSet presAssocID="{760A34FC-D186-4C3F-9A9D-5328B04D3677}" presName="rootText" presStyleLbl="node3" presStyleIdx="0" presStyleCnt="1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549CA68-9389-4E88-8F4E-0B57520BD3A5}" type="pres">
      <dgm:prSet presAssocID="{760A34FC-D186-4C3F-9A9D-5328B04D3677}" presName="rootConnector" presStyleLbl="node3" presStyleIdx="0" presStyleCnt="14"/>
      <dgm:spPr/>
      <dgm:t>
        <a:bodyPr/>
        <a:lstStyle/>
        <a:p>
          <a:endParaRPr lang="en-US"/>
        </a:p>
      </dgm:t>
    </dgm:pt>
    <dgm:pt modelId="{50A5352D-3E03-4E9D-B4A4-0ED85947FC3F}" type="pres">
      <dgm:prSet presAssocID="{760A34FC-D186-4C3F-9A9D-5328B04D3677}" presName="hierChild4" presStyleCnt="0"/>
      <dgm:spPr/>
    </dgm:pt>
    <dgm:pt modelId="{8F2B0956-E397-4D27-B0B0-BDB087625F68}" type="pres">
      <dgm:prSet presAssocID="{760A34FC-D186-4C3F-9A9D-5328B04D3677}" presName="hierChild5" presStyleCnt="0"/>
      <dgm:spPr/>
    </dgm:pt>
    <dgm:pt modelId="{89A327D0-9216-4432-B846-CF92D8421306}" type="pres">
      <dgm:prSet presAssocID="{F2A04CE1-010E-40D3-9764-4F32979EB251}" presName="Name37" presStyleLbl="parChTrans1D3" presStyleIdx="1" presStyleCnt="14"/>
      <dgm:spPr/>
      <dgm:t>
        <a:bodyPr/>
        <a:lstStyle/>
        <a:p>
          <a:endParaRPr lang="en-US"/>
        </a:p>
      </dgm:t>
    </dgm:pt>
    <dgm:pt modelId="{392A03F2-DACA-4627-A3CB-C60FBF5768E8}" type="pres">
      <dgm:prSet presAssocID="{9DED8379-65AB-4839-8381-B4FAC6FB5663}" presName="hierRoot2" presStyleCnt="0">
        <dgm:presLayoutVars>
          <dgm:hierBranch val="init"/>
        </dgm:presLayoutVars>
      </dgm:prSet>
      <dgm:spPr/>
    </dgm:pt>
    <dgm:pt modelId="{C880C607-E2B1-4667-A10E-F70406E90F27}" type="pres">
      <dgm:prSet presAssocID="{9DED8379-65AB-4839-8381-B4FAC6FB5663}" presName="rootComposite" presStyleCnt="0"/>
      <dgm:spPr/>
    </dgm:pt>
    <dgm:pt modelId="{B3C62A13-97FF-4369-A831-14A2AAB802D9}" type="pres">
      <dgm:prSet presAssocID="{9DED8379-65AB-4839-8381-B4FAC6FB5663}" presName="rootText" presStyleLbl="node3" presStyleIdx="1" presStyleCnt="1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7E4FD52-816D-4D0C-AA62-6AC99A61B8D8}" type="pres">
      <dgm:prSet presAssocID="{9DED8379-65AB-4839-8381-B4FAC6FB5663}" presName="rootConnector" presStyleLbl="node3" presStyleIdx="1" presStyleCnt="14"/>
      <dgm:spPr/>
      <dgm:t>
        <a:bodyPr/>
        <a:lstStyle/>
        <a:p>
          <a:endParaRPr lang="en-US"/>
        </a:p>
      </dgm:t>
    </dgm:pt>
    <dgm:pt modelId="{8B5F742C-D9A3-4C3F-A2D9-A86CA25C7C20}" type="pres">
      <dgm:prSet presAssocID="{9DED8379-65AB-4839-8381-B4FAC6FB5663}" presName="hierChild4" presStyleCnt="0"/>
      <dgm:spPr/>
    </dgm:pt>
    <dgm:pt modelId="{5CAA25DC-0279-4580-BBCE-AC10E8DB285B}" type="pres">
      <dgm:prSet presAssocID="{57B39B58-8E62-4546-93FE-5294F73AD5CB}" presName="Name37" presStyleLbl="parChTrans1D4" presStyleIdx="0" presStyleCnt="29"/>
      <dgm:spPr/>
      <dgm:t>
        <a:bodyPr/>
        <a:lstStyle/>
        <a:p>
          <a:endParaRPr lang="en-US"/>
        </a:p>
      </dgm:t>
    </dgm:pt>
    <dgm:pt modelId="{973C51E6-E983-4E1A-BDCF-D587CB1EEB9B}" type="pres">
      <dgm:prSet presAssocID="{DFB03001-3E82-45A7-9099-08B55BEF9705}" presName="hierRoot2" presStyleCnt="0">
        <dgm:presLayoutVars>
          <dgm:hierBranch val="init"/>
        </dgm:presLayoutVars>
      </dgm:prSet>
      <dgm:spPr/>
    </dgm:pt>
    <dgm:pt modelId="{6CD62433-5027-47D1-97C2-3F8F8264C629}" type="pres">
      <dgm:prSet presAssocID="{DFB03001-3E82-45A7-9099-08B55BEF9705}" presName="rootComposite" presStyleCnt="0"/>
      <dgm:spPr/>
    </dgm:pt>
    <dgm:pt modelId="{D4CB5618-222F-457D-BC30-B674E5FD3FAB}" type="pres">
      <dgm:prSet presAssocID="{DFB03001-3E82-45A7-9099-08B55BEF9705}" presName="rootText" presStyleLbl="node4" presStyleIdx="0" presStyleCnt="2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F422EAB-51A6-412C-B197-1D6E7B156711}" type="pres">
      <dgm:prSet presAssocID="{DFB03001-3E82-45A7-9099-08B55BEF9705}" presName="rootConnector" presStyleLbl="node4" presStyleIdx="0" presStyleCnt="29"/>
      <dgm:spPr/>
      <dgm:t>
        <a:bodyPr/>
        <a:lstStyle/>
        <a:p>
          <a:endParaRPr lang="en-US"/>
        </a:p>
      </dgm:t>
    </dgm:pt>
    <dgm:pt modelId="{AE069F21-9DCC-46DE-A800-BB1B22935AD8}" type="pres">
      <dgm:prSet presAssocID="{DFB03001-3E82-45A7-9099-08B55BEF9705}" presName="hierChild4" presStyleCnt="0"/>
      <dgm:spPr/>
    </dgm:pt>
    <dgm:pt modelId="{4548059A-61FC-485A-9BF7-E5B094DFBD21}" type="pres">
      <dgm:prSet presAssocID="{E4B105B5-E3FD-43B5-8B36-8A615E256692}" presName="Name37" presStyleLbl="parChTrans1D4" presStyleIdx="1" presStyleCnt="29"/>
      <dgm:spPr/>
      <dgm:t>
        <a:bodyPr/>
        <a:lstStyle/>
        <a:p>
          <a:endParaRPr lang="en-US"/>
        </a:p>
      </dgm:t>
    </dgm:pt>
    <dgm:pt modelId="{6A78B6F4-C141-4EE8-B196-100AA552D8A0}" type="pres">
      <dgm:prSet presAssocID="{D2DB2E3D-602B-4893-A2D9-57860639AEB7}" presName="hierRoot2" presStyleCnt="0">
        <dgm:presLayoutVars>
          <dgm:hierBranch val="init"/>
        </dgm:presLayoutVars>
      </dgm:prSet>
      <dgm:spPr/>
    </dgm:pt>
    <dgm:pt modelId="{93A15136-D6F6-4453-8C4B-6CF0AFB6F54C}" type="pres">
      <dgm:prSet presAssocID="{D2DB2E3D-602B-4893-A2D9-57860639AEB7}" presName="rootComposite" presStyleCnt="0"/>
      <dgm:spPr/>
    </dgm:pt>
    <dgm:pt modelId="{9CC6899B-CA1B-42D3-B1BB-2B382C799E3B}" type="pres">
      <dgm:prSet presAssocID="{D2DB2E3D-602B-4893-A2D9-57860639AEB7}" presName="rootText" presStyleLbl="node4" presStyleIdx="1" presStyleCnt="2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82C5469-A533-41EF-B2D3-6D59DEDEEFD9}" type="pres">
      <dgm:prSet presAssocID="{D2DB2E3D-602B-4893-A2D9-57860639AEB7}" presName="rootConnector" presStyleLbl="node4" presStyleIdx="1" presStyleCnt="29"/>
      <dgm:spPr/>
      <dgm:t>
        <a:bodyPr/>
        <a:lstStyle/>
        <a:p>
          <a:endParaRPr lang="en-US"/>
        </a:p>
      </dgm:t>
    </dgm:pt>
    <dgm:pt modelId="{CD496678-599A-4C89-B18E-531F3C2F8909}" type="pres">
      <dgm:prSet presAssocID="{D2DB2E3D-602B-4893-A2D9-57860639AEB7}" presName="hierChild4" presStyleCnt="0"/>
      <dgm:spPr/>
    </dgm:pt>
    <dgm:pt modelId="{A51E6327-0460-4603-B58A-76A67DB8E790}" type="pres">
      <dgm:prSet presAssocID="{D2DB2E3D-602B-4893-A2D9-57860639AEB7}" presName="hierChild5" presStyleCnt="0"/>
      <dgm:spPr/>
    </dgm:pt>
    <dgm:pt modelId="{D70DF42D-6361-4C9C-8C9C-6C1273690FA4}" type="pres">
      <dgm:prSet presAssocID="{195C712F-D521-453E-89E6-67454440EF54}" presName="Name37" presStyleLbl="parChTrans1D4" presStyleIdx="2" presStyleCnt="29"/>
      <dgm:spPr/>
      <dgm:t>
        <a:bodyPr/>
        <a:lstStyle/>
        <a:p>
          <a:endParaRPr lang="en-US"/>
        </a:p>
      </dgm:t>
    </dgm:pt>
    <dgm:pt modelId="{A71B43F0-BB9B-4203-BBA9-7797BACC1A75}" type="pres">
      <dgm:prSet presAssocID="{E016896C-96D3-4257-BCB1-B74BD57CCA46}" presName="hierRoot2" presStyleCnt="0">
        <dgm:presLayoutVars>
          <dgm:hierBranch val="init"/>
        </dgm:presLayoutVars>
      </dgm:prSet>
      <dgm:spPr/>
    </dgm:pt>
    <dgm:pt modelId="{2259417A-D700-4897-936E-96184E6657E1}" type="pres">
      <dgm:prSet presAssocID="{E016896C-96D3-4257-BCB1-B74BD57CCA46}" presName="rootComposite" presStyleCnt="0"/>
      <dgm:spPr/>
    </dgm:pt>
    <dgm:pt modelId="{E6785B03-97FC-4131-B123-CBAEF25E33EF}" type="pres">
      <dgm:prSet presAssocID="{E016896C-96D3-4257-BCB1-B74BD57CCA46}" presName="rootText" presStyleLbl="node4" presStyleIdx="2" presStyleCnt="2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5703F16-D454-443E-B680-7DC0D58F73C6}" type="pres">
      <dgm:prSet presAssocID="{E016896C-96D3-4257-BCB1-B74BD57CCA46}" presName="rootConnector" presStyleLbl="node4" presStyleIdx="2" presStyleCnt="29"/>
      <dgm:spPr/>
      <dgm:t>
        <a:bodyPr/>
        <a:lstStyle/>
        <a:p>
          <a:endParaRPr lang="en-US"/>
        </a:p>
      </dgm:t>
    </dgm:pt>
    <dgm:pt modelId="{60A9FE29-01DB-40CC-A224-0EA481E0CBB8}" type="pres">
      <dgm:prSet presAssocID="{E016896C-96D3-4257-BCB1-B74BD57CCA46}" presName="hierChild4" presStyleCnt="0"/>
      <dgm:spPr/>
    </dgm:pt>
    <dgm:pt modelId="{98A0F53C-4669-4D7B-8CEA-70730CE3E2EA}" type="pres">
      <dgm:prSet presAssocID="{E016896C-96D3-4257-BCB1-B74BD57CCA46}" presName="hierChild5" presStyleCnt="0"/>
      <dgm:spPr/>
    </dgm:pt>
    <dgm:pt modelId="{C5744002-6D5D-4CF8-B708-0E0DA394788E}" type="pres">
      <dgm:prSet presAssocID="{97F53900-51D6-42C4-A7A4-B29EC3BBD80C}" presName="Name37" presStyleLbl="parChTrans1D4" presStyleIdx="3" presStyleCnt="29"/>
      <dgm:spPr/>
      <dgm:t>
        <a:bodyPr/>
        <a:lstStyle/>
        <a:p>
          <a:endParaRPr lang="en-US"/>
        </a:p>
      </dgm:t>
    </dgm:pt>
    <dgm:pt modelId="{3182694F-BCA0-4245-8CBA-B325EF7EF1E8}" type="pres">
      <dgm:prSet presAssocID="{8399BA40-3857-4858-B885-115A2954ADCE}" presName="hierRoot2" presStyleCnt="0">
        <dgm:presLayoutVars>
          <dgm:hierBranch val="init"/>
        </dgm:presLayoutVars>
      </dgm:prSet>
      <dgm:spPr/>
    </dgm:pt>
    <dgm:pt modelId="{FFBB0E85-0159-438E-81B3-F02B21ABEB0A}" type="pres">
      <dgm:prSet presAssocID="{8399BA40-3857-4858-B885-115A2954ADCE}" presName="rootComposite" presStyleCnt="0"/>
      <dgm:spPr/>
    </dgm:pt>
    <dgm:pt modelId="{916E8DC3-EAD0-4302-BB1B-B99FDC405018}" type="pres">
      <dgm:prSet presAssocID="{8399BA40-3857-4858-B885-115A2954ADCE}" presName="rootText" presStyleLbl="node4" presStyleIdx="3" presStyleCnt="2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BAA9E84-D60A-4361-BE65-BBBB69624B56}" type="pres">
      <dgm:prSet presAssocID="{8399BA40-3857-4858-B885-115A2954ADCE}" presName="rootConnector" presStyleLbl="node4" presStyleIdx="3" presStyleCnt="29"/>
      <dgm:spPr/>
      <dgm:t>
        <a:bodyPr/>
        <a:lstStyle/>
        <a:p>
          <a:endParaRPr lang="en-US"/>
        </a:p>
      </dgm:t>
    </dgm:pt>
    <dgm:pt modelId="{ED8C8EE8-C23A-453F-9BB1-C324897434AC}" type="pres">
      <dgm:prSet presAssocID="{8399BA40-3857-4858-B885-115A2954ADCE}" presName="hierChild4" presStyleCnt="0"/>
      <dgm:spPr/>
    </dgm:pt>
    <dgm:pt modelId="{3061CFEB-86A0-40BF-9DE2-6DCC54C0FB56}" type="pres">
      <dgm:prSet presAssocID="{8399BA40-3857-4858-B885-115A2954ADCE}" presName="hierChild5" presStyleCnt="0"/>
      <dgm:spPr/>
    </dgm:pt>
    <dgm:pt modelId="{91D7DEBC-3600-422A-A5B2-DE17AFE46963}" type="pres">
      <dgm:prSet presAssocID="{AC8711FC-1F2C-4ECA-9982-9DF486A959D9}" presName="Name37" presStyleLbl="parChTrans1D4" presStyleIdx="4" presStyleCnt="29"/>
      <dgm:spPr/>
      <dgm:t>
        <a:bodyPr/>
        <a:lstStyle/>
        <a:p>
          <a:endParaRPr lang="en-US"/>
        </a:p>
      </dgm:t>
    </dgm:pt>
    <dgm:pt modelId="{87E321EB-219D-40C3-9C99-E7308FA086A8}" type="pres">
      <dgm:prSet presAssocID="{F04B21D9-C7BB-4EF5-9EFE-0940BF6DF841}" presName="hierRoot2" presStyleCnt="0">
        <dgm:presLayoutVars>
          <dgm:hierBranch val="init"/>
        </dgm:presLayoutVars>
      </dgm:prSet>
      <dgm:spPr/>
    </dgm:pt>
    <dgm:pt modelId="{3F28B56B-3967-46AB-B80D-A38CC5752424}" type="pres">
      <dgm:prSet presAssocID="{F04B21D9-C7BB-4EF5-9EFE-0940BF6DF841}" presName="rootComposite" presStyleCnt="0"/>
      <dgm:spPr/>
    </dgm:pt>
    <dgm:pt modelId="{791C3F76-0645-4A7F-AFEB-BD23E3950A41}" type="pres">
      <dgm:prSet presAssocID="{F04B21D9-C7BB-4EF5-9EFE-0940BF6DF841}" presName="rootText" presStyleLbl="node4" presStyleIdx="4" presStyleCnt="2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B7554D5-D2B5-446E-B8DD-82A310A01892}" type="pres">
      <dgm:prSet presAssocID="{F04B21D9-C7BB-4EF5-9EFE-0940BF6DF841}" presName="rootConnector" presStyleLbl="node4" presStyleIdx="4" presStyleCnt="29"/>
      <dgm:spPr/>
      <dgm:t>
        <a:bodyPr/>
        <a:lstStyle/>
        <a:p>
          <a:endParaRPr lang="en-US"/>
        </a:p>
      </dgm:t>
    </dgm:pt>
    <dgm:pt modelId="{44E0146E-F436-496C-92AE-6C79B704AE21}" type="pres">
      <dgm:prSet presAssocID="{F04B21D9-C7BB-4EF5-9EFE-0940BF6DF841}" presName="hierChild4" presStyleCnt="0"/>
      <dgm:spPr/>
    </dgm:pt>
    <dgm:pt modelId="{0BBB77BC-022F-42FC-9EBE-B8679D856F18}" type="pres">
      <dgm:prSet presAssocID="{F04B21D9-C7BB-4EF5-9EFE-0940BF6DF841}" presName="hierChild5" presStyleCnt="0"/>
      <dgm:spPr/>
    </dgm:pt>
    <dgm:pt modelId="{9508B103-C703-46A3-864B-4D55E050C768}" type="pres">
      <dgm:prSet presAssocID="{8A8D0E82-0430-4E95-9689-07EBDAF5D762}" presName="Name37" presStyleLbl="parChTrans1D4" presStyleIdx="5" presStyleCnt="29"/>
      <dgm:spPr/>
      <dgm:t>
        <a:bodyPr/>
        <a:lstStyle/>
        <a:p>
          <a:endParaRPr lang="en-US"/>
        </a:p>
      </dgm:t>
    </dgm:pt>
    <dgm:pt modelId="{C32457FD-22FE-4B7D-A765-F624693CEC29}" type="pres">
      <dgm:prSet presAssocID="{05D0271D-900A-42FF-BF29-A2B8284A2B9C}" presName="hierRoot2" presStyleCnt="0">
        <dgm:presLayoutVars>
          <dgm:hierBranch val="init"/>
        </dgm:presLayoutVars>
      </dgm:prSet>
      <dgm:spPr/>
    </dgm:pt>
    <dgm:pt modelId="{5B0955C9-889A-42E9-BEBF-834604A9BD69}" type="pres">
      <dgm:prSet presAssocID="{05D0271D-900A-42FF-BF29-A2B8284A2B9C}" presName="rootComposite" presStyleCnt="0"/>
      <dgm:spPr/>
    </dgm:pt>
    <dgm:pt modelId="{663DE3C8-6B0F-4813-95CE-1B7165C526B4}" type="pres">
      <dgm:prSet presAssocID="{05D0271D-900A-42FF-BF29-A2B8284A2B9C}" presName="rootText" presStyleLbl="node4" presStyleIdx="5" presStyleCnt="2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8AB4581-4625-43C1-8D4B-24A89C4654E5}" type="pres">
      <dgm:prSet presAssocID="{05D0271D-900A-42FF-BF29-A2B8284A2B9C}" presName="rootConnector" presStyleLbl="node4" presStyleIdx="5" presStyleCnt="29"/>
      <dgm:spPr/>
      <dgm:t>
        <a:bodyPr/>
        <a:lstStyle/>
        <a:p>
          <a:endParaRPr lang="en-US"/>
        </a:p>
      </dgm:t>
    </dgm:pt>
    <dgm:pt modelId="{CA1F5294-1C4B-4C2C-AA41-730ABBBC1D23}" type="pres">
      <dgm:prSet presAssocID="{05D0271D-900A-42FF-BF29-A2B8284A2B9C}" presName="hierChild4" presStyleCnt="0"/>
      <dgm:spPr/>
    </dgm:pt>
    <dgm:pt modelId="{E81DBB6E-5A57-4E38-B9A3-A857141DF424}" type="pres">
      <dgm:prSet presAssocID="{05D0271D-900A-42FF-BF29-A2B8284A2B9C}" presName="hierChild5" presStyleCnt="0"/>
      <dgm:spPr/>
    </dgm:pt>
    <dgm:pt modelId="{FB99E4F6-1BA1-4FBA-9A84-79F96CD77FA0}" type="pres">
      <dgm:prSet presAssocID="{ADC976E7-5857-44A2-B524-51ED4816ADF6}" presName="Name37" presStyleLbl="parChTrans1D4" presStyleIdx="6" presStyleCnt="29"/>
      <dgm:spPr/>
      <dgm:t>
        <a:bodyPr/>
        <a:lstStyle/>
        <a:p>
          <a:endParaRPr lang="en-US"/>
        </a:p>
      </dgm:t>
    </dgm:pt>
    <dgm:pt modelId="{FAA75384-AC59-4A0F-B6FC-96969B1806A1}" type="pres">
      <dgm:prSet presAssocID="{806E8472-E0D4-425A-89B0-B9E0DF527BC1}" presName="hierRoot2" presStyleCnt="0">
        <dgm:presLayoutVars>
          <dgm:hierBranch val="init"/>
        </dgm:presLayoutVars>
      </dgm:prSet>
      <dgm:spPr/>
    </dgm:pt>
    <dgm:pt modelId="{10EA2615-F01B-49F4-8211-944C5D2C1C17}" type="pres">
      <dgm:prSet presAssocID="{806E8472-E0D4-425A-89B0-B9E0DF527BC1}" presName="rootComposite" presStyleCnt="0"/>
      <dgm:spPr/>
    </dgm:pt>
    <dgm:pt modelId="{D8C2AB15-5E99-4407-95D3-F1B4D66F02DF}" type="pres">
      <dgm:prSet presAssocID="{806E8472-E0D4-425A-89B0-B9E0DF527BC1}" presName="rootText" presStyleLbl="node4" presStyleIdx="6" presStyleCnt="2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1556BD0-BD8F-41BC-9F1A-A71F183BADE9}" type="pres">
      <dgm:prSet presAssocID="{806E8472-E0D4-425A-89B0-B9E0DF527BC1}" presName="rootConnector" presStyleLbl="node4" presStyleIdx="6" presStyleCnt="29"/>
      <dgm:spPr/>
      <dgm:t>
        <a:bodyPr/>
        <a:lstStyle/>
        <a:p>
          <a:endParaRPr lang="en-US"/>
        </a:p>
      </dgm:t>
    </dgm:pt>
    <dgm:pt modelId="{1B7A768C-33A1-4CEC-BAE5-5F412259265D}" type="pres">
      <dgm:prSet presAssocID="{806E8472-E0D4-425A-89B0-B9E0DF527BC1}" presName="hierChild4" presStyleCnt="0"/>
      <dgm:spPr/>
    </dgm:pt>
    <dgm:pt modelId="{A87A8001-BBE7-4866-BCBD-E150FF5C895C}" type="pres">
      <dgm:prSet presAssocID="{806E8472-E0D4-425A-89B0-B9E0DF527BC1}" presName="hierChild5" presStyleCnt="0"/>
      <dgm:spPr/>
    </dgm:pt>
    <dgm:pt modelId="{70F4977F-960A-4FE1-8843-9C90C669C6B7}" type="pres">
      <dgm:prSet presAssocID="{DFB03001-3E82-45A7-9099-08B55BEF9705}" presName="hierChild5" presStyleCnt="0"/>
      <dgm:spPr/>
    </dgm:pt>
    <dgm:pt modelId="{6E2F6462-5EB2-4BBE-A591-0D454C46D7DB}" type="pres">
      <dgm:prSet presAssocID="{E1E2BAA2-BD90-4DF4-9127-14E29A71686D}" presName="Name37" presStyleLbl="parChTrans1D4" presStyleIdx="7" presStyleCnt="29"/>
      <dgm:spPr/>
      <dgm:t>
        <a:bodyPr/>
        <a:lstStyle/>
        <a:p>
          <a:endParaRPr lang="en-US"/>
        </a:p>
      </dgm:t>
    </dgm:pt>
    <dgm:pt modelId="{1F14DE9C-B7A0-4FFB-9FFA-20F7F2DDA1ED}" type="pres">
      <dgm:prSet presAssocID="{C3E9A307-CC60-40FC-8B1F-5308BDFC4D45}" presName="hierRoot2" presStyleCnt="0">
        <dgm:presLayoutVars>
          <dgm:hierBranch val="init"/>
        </dgm:presLayoutVars>
      </dgm:prSet>
      <dgm:spPr/>
    </dgm:pt>
    <dgm:pt modelId="{A27E8888-8453-4A52-93A5-9585367F5C6C}" type="pres">
      <dgm:prSet presAssocID="{C3E9A307-CC60-40FC-8B1F-5308BDFC4D45}" presName="rootComposite" presStyleCnt="0"/>
      <dgm:spPr/>
    </dgm:pt>
    <dgm:pt modelId="{D2C455B8-A860-426A-AB88-25773B767F3A}" type="pres">
      <dgm:prSet presAssocID="{C3E9A307-CC60-40FC-8B1F-5308BDFC4D45}" presName="rootText" presStyleLbl="node4" presStyleIdx="7" presStyleCnt="2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8CCA4D4-2CB0-4D69-90E0-270AE2A96BA2}" type="pres">
      <dgm:prSet presAssocID="{C3E9A307-CC60-40FC-8B1F-5308BDFC4D45}" presName="rootConnector" presStyleLbl="node4" presStyleIdx="7" presStyleCnt="29"/>
      <dgm:spPr/>
      <dgm:t>
        <a:bodyPr/>
        <a:lstStyle/>
        <a:p>
          <a:endParaRPr lang="en-US"/>
        </a:p>
      </dgm:t>
    </dgm:pt>
    <dgm:pt modelId="{FDE52E8D-B3FB-414F-BCE6-337C0FF1B2E8}" type="pres">
      <dgm:prSet presAssocID="{C3E9A307-CC60-40FC-8B1F-5308BDFC4D45}" presName="hierChild4" presStyleCnt="0"/>
      <dgm:spPr/>
    </dgm:pt>
    <dgm:pt modelId="{F653E96A-2804-4D62-8572-CADEEEB58D46}" type="pres">
      <dgm:prSet presAssocID="{5F0E1E8E-768C-48E8-B05A-68CEF943C19F}" presName="Name37" presStyleLbl="parChTrans1D4" presStyleIdx="8" presStyleCnt="29"/>
      <dgm:spPr/>
      <dgm:t>
        <a:bodyPr/>
        <a:lstStyle/>
        <a:p>
          <a:endParaRPr lang="en-US"/>
        </a:p>
      </dgm:t>
    </dgm:pt>
    <dgm:pt modelId="{4991F876-9BA3-49E2-A9A8-5B874214D8D6}" type="pres">
      <dgm:prSet presAssocID="{4529D64E-4FB2-43E9-B771-14B87F36DB19}" presName="hierRoot2" presStyleCnt="0">
        <dgm:presLayoutVars>
          <dgm:hierBranch val="init"/>
        </dgm:presLayoutVars>
      </dgm:prSet>
      <dgm:spPr/>
    </dgm:pt>
    <dgm:pt modelId="{A43B4385-A445-4AD2-A8DC-55E5E17FFD75}" type="pres">
      <dgm:prSet presAssocID="{4529D64E-4FB2-43E9-B771-14B87F36DB19}" presName="rootComposite" presStyleCnt="0"/>
      <dgm:spPr/>
    </dgm:pt>
    <dgm:pt modelId="{6C787661-5711-408B-AA86-17BA6316F20E}" type="pres">
      <dgm:prSet presAssocID="{4529D64E-4FB2-43E9-B771-14B87F36DB19}" presName="rootText" presStyleLbl="node4" presStyleIdx="8" presStyleCnt="2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5926D5A-7D13-4905-B882-9E3F6C748995}" type="pres">
      <dgm:prSet presAssocID="{4529D64E-4FB2-43E9-B771-14B87F36DB19}" presName="rootConnector" presStyleLbl="node4" presStyleIdx="8" presStyleCnt="29"/>
      <dgm:spPr/>
      <dgm:t>
        <a:bodyPr/>
        <a:lstStyle/>
        <a:p>
          <a:endParaRPr lang="en-US"/>
        </a:p>
      </dgm:t>
    </dgm:pt>
    <dgm:pt modelId="{1DBD3F5C-1C9F-4FC9-A3F2-A67623032578}" type="pres">
      <dgm:prSet presAssocID="{4529D64E-4FB2-43E9-B771-14B87F36DB19}" presName="hierChild4" presStyleCnt="0"/>
      <dgm:spPr/>
    </dgm:pt>
    <dgm:pt modelId="{424F94C2-86E0-4EAF-BEFC-228C73A99F56}" type="pres">
      <dgm:prSet presAssocID="{4529D64E-4FB2-43E9-B771-14B87F36DB19}" presName="hierChild5" presStyleCnt="0"/>
      <dgm:spPr/>
    </dgm:pt>
    <dgm:pt modelId="{F7240596-690D-4406-ADDA-F6F5D9746CEA}" type="pres">
      <dgm:prSet presAssocID="{5F7D7930-63DD-4F4A-9618-1B810DA86551}" presName="Name37" presStyleLbl="parChTrans1D4" presStyleIdx="9" presStyleCnt="29"/>
      <dgm:spPr/>
      <dgm:t>
        <a:bodyPr/>
        <a:lstStyle/>
        <a:p>
          <a:endParaRPr lang="en-US"/>
        </a:p>
      </dgm:t>
    </dgm:pt>
    <dgm:pt modelId="{5B39A376-4337-408E-8DE0-95F31A0A8688}" type="pres">
      <dgm:prSet presAssocID="{F50C0774-F916-4DB7-A3FC-AB695AD4DBE2}" presName="hierRoot2" presStyleCnt="0">
        <dgm:presLayoutVars>
          <dgm:hierBranch val="init"/>
        </dgm:presLayoutVars>
      </dgm:prSet>
      <dgm:spPr/>
    </dgm:pt>
    <dgm:pt modelId="{42A9955E-92C5-4C93-ACD4-785E8C163715}" type="pres">
      <dgm:prSet presAssocID="{F50C0774-F916-4DB7-A3FC-AB695AD4DBE2}" presName="rootComposite" presStyleCnt="0"/>
      <dgm:spPr/>
    </dgm:pt>
    <dgm:pt modelId="{43AD7475-ACA3-413F-8680-295E510B65E0}" type="pres">
      <dgm:prSet presAssocID="{F50C0774-F916-4DB7-A3FC-AB695AD4DBE2}" presName="rootText" presStyleLbl="node4" presStyleIdx="9" presStyleCnt="2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8DDD4D8-A230-424D-9955-0A1940001334}" type="pres">
      <dgm:prSet presAssocID="{F50C0774-F916-4DB7-A3FC-AB695AD4DBE2}" presName="rootConnector" presStyleLbl="node4" presStyleIdx="9" presStyleCnt="29"/>
      <dgm:spPr/>
      <dgm:t>
        <a:bodyPr/>
        <a:lstStyle/>
        <a:p>
          <a:endParaRPr lang="en-US"/>
        </a:p>
      </dgm:t>
    </dgm:pt>
    <dgm:pt modelId="{2908FD3A-CFAC-4C7E-A7EC-63A39962D211}" type="pres">
      <dgm:prSet presAssocID="{F50C0774-F916-4DB7-A3FC-AB695AD4DBE2}" presName="hierChild4" presStyleCnt="0"/>
      <dgm:spPr/>
    </dgm:pt>
    <dgm:pt modelId="{5418ED43-0D88-4266-AE3C-5318531E28B9}" type="pres">
      <dgm:prSet presAssocID="{F50C0774-F916-4DB7-A3FC-AB695AD4DBE2}" presName="hierChild5" presStyleCnt="0"/>
      <dgm:spPr/>
    </dgm:pt>
    <dgm:pt modelId="{37784D33-158C-4FE4-9852-E29E352BA539}" type="pres">
      <dgm:prSet presAssocID="{7FF22900-E338-4E42-BDFF-30B227E61B51}" presName="Name37" presStyleLbl="parChTrans1D4" presStyleIdx="10" presStyleCnt="29"/>
      <dgm:spPr/>
      <dgm:t>
        <a:bodyPr/>
        <a:lstStyle/>
        <a:p>
          <a:endParaRPr lang="en-US"/>
        </a:p>
      </dgm:t>
    </dgm:pt>
    <dgm:pt modelId="{8E8C0E24-503D-49E2-A925-4E1D02A732C5}" type="pres">
      <dgm:prSet presAssocID="{C4D434CB-8496-4890-A48F-835758FFB141}" presName="hierRoot2" presStyleCnt="0">
        <dgm:presLayoutVars>
          <dgm:hierBranch val="init"/>
        </dgm:presLayoutVars>
      </dgm:prSet>
      <dgm:spPr/>
    </dgm:pt>
    <dgm:pt modelId="{FBBDB87F-0A24-4A9D-8B04-A51716FDE280}" type="pres">
      <dgm:prSet presAssocID="{C4D434CB-8496-4890-A48F-835758FFB141}" presName="rootComposite" presStyleCnt="0"/>
      <dgm:spPr/>
    </dgm:pt>
    <dgm:pt modelId="{D821CB0F-8B19-470E-9D5E-46BC0FC5A953}" type="pres">
      <dgm:prSet presAssocID="{C4D434CB-8496-4890-A48F-835758FFB141}" presName="rootText" presStyleLbl="node4" presStyleIdx="10" presStyleCnt="2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E667484-37F9-4D23-9C1D-597773941693}" type="pres">
      <dgm:prSet presAssocID="{C4D434CB-8496-4890-A48F-835758FFB141}" presName="rootConnector" presStyleLbl="node4" presStyleIdx="10" presStyleCnt="29"/>
      <dgm:spPr/>
      <dgm:t>
        <a:bodyPr/>
        <a:lstStyle/>
        <a:p>
          <a:endParaRPr lang="en-US"/>
        </a:p>
      </dgm:t>
    </dgm:pt>
    <dgm:pt modelId="{CF9CFD6D-440B-4A1E-89ED-E8812005A0E6}" type="pres">
      <dgm:prSet presAssocID="{C4D434CB-8496-4890-A48F-835758FFB141}" presName="hierChild4" presStyleCnt="0"/>
      <dgm:spPr/>
    </dgm:pt>
    <dgm:pt modelId="{38F5D8BB-57AB-46E2-90D6-898334C1DB57}" type="pres">
      <dgm:prSet presAssocID="{C4D434CB-8496-4890-A48F-835758FFB141}" presName="hierChild5" presStyleCnt="0"/>
      <dgm:spPr/>
    </dgm:pt>
    <dgm:pt modelId="{5A3C1543-A2D6-42AD-9D97-5074512A6812}" type="pres">
      <dgm:prSet presAssocID="{63B3BA05-D145-4830-B01E-A79972DD73D0}" presName="Name37" presStyleLbl="parChTrans1D4" presStyleIdx="11" presStyleCnt="29"/>
      <dgm:spPr/>
      <dgm:t>
        <a:bodyPr/>
        <a:lstStyle/>
        <a:p>
          <a:endParaRPr lang="en-US"/>
        </a:p>
      </dgm:t>
    </dgm:pt>
    <dgm:pt modelId="{15ED28AB-C17B-48FF-9E5D-F51442F6A6C0}" type="pres">
      <dgm:prSet presAssocID="{B14F391A-8DE1-467D-B30A-494B0787F60C}" presName="hierRoot2" presStyleCnt="0">
        <dgm:presLayoutVars>
          <dgm:hierBranch val="init"/>
        </dgm:presLayoutVars>
      </dgm:prSet>
      <dgm:spPr/>
    </dgm:pt>
    <dgm:pt modelId="{112E5882-107A-4AB6-B924-6B4B3BC4DC78}" type="pres">
      <dgm:prSet presAssocID="{B14F391A-8DE1-467D-B30A-494B0787F60C}" presName="rootComposite" presStyleCnt="0"/>
      <dgm:spPr/>
    </dgm:pt>
    <dgm:pt modelId="{342625E3-BCA4-4363-8433-C62AB14DC370}" type="pres">
      <dgm:prSet presAssocID="{B14F391A-8DE1-467D-B30A-494B0787F60C}" presName="rootText" presStyleLbl="node4" presStyleIdx="11" presStyleCnt="2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B1E7458-F2DE-4F17-B9AC-EFB56E9E8857}" type="pres">
      <dgm:prSet presAssocID="{B14F391A-8DE1-467D-B30A-494B0787F60C}" presName="rootConnector" presStyleLbl="node4" presStyleIdx="11" presStyleCnt="29"/>
      <dgm:spPr/>
      <dgm:t>
        <a:bodyPr/>
        <a:lstStyle/>
        <a:p>
          <a:endParaRPr lang="en-US"/>
        </a:p>
      </dgm:t>
    </dgm:pt>
    <dgm:pt modelId="{FCB5F1E8-4BC6-45EB-A56B-08FA07E66D85}" type="pres">
      <dgm:prSet presAssocID="{B14F391A-8DE1-467D-B30A-494B0787F60C}" presName="hierChild4" presStyleCnt="0"/>
      <dgm:spPr/>
    </dgm:pt>
    <dgm:pt modelId="{5231AA01-4D29-4C2D-9F85-996A4FD9C9E6}" type="pres">
      <dgm:prSet presAssocID="{B14F391A-8DE1-467D-B30A-494B0787F60C}" presName="hierChild5" presStyleCnt="0"/>
      <dgm:spPr/>
    </dgm:pt>
    <dgm:pt modelId="{65E89354-3B38-4649-A722-A0B2DD8D979A}" type="pres">
      <dgm:prSet presAssocID="{B7D4E461-616E-4038-9C04-46DB1AE02EB6}" presName="Name37" presStyleLbl="parChTrans1D4" presStyleIdx="12" presStyleCnt="29"/>
      <dgm:spPr/>
      <dgm:t>
        <a:bodyPr/>
        <a:lstStyle/>
        <a:p>
          <a:endParaRPr lang="en-US"/>
        </a:p>
      </dgm:t>
    </dgm:pt>
    <dgm:pt modelId="{7DEE40C9-40B9-4772-9F2C-C693CB9D0810}" type="pres">
      <dgm:prSet presAssocID="{9BDE54EE-3945-4852-A375-00796B68EA21}" presName="hierRoot2" presStyleCnt="0">
        <dgm:presLayoutVars>
          <dgm:hierBranch val="init"/>
        </dgm:presLayoutVars>
      </dgm:prSet>
      <dgm:spPr/>
    </dgm:pt>
    <dgm:pt modelId="{687702AC-BAFB-4EE1-BFF2-D714CEE944CB}" type="pres">
      <dgm:prSet presAssocID="{9BDE54EE-3945-4852-A375-00796B68EA21}" presName="rootComposite" presStyleCnt="0"/>
      <dgm:spPr/>
    </dgm:pt>
    <dgm:pt modelId="{AAD3C840-093B-4748-BFD7-04A330B33C5B}" type="pres">
      <dgm:prSet presAssocID="{9BDE54EE-3945-4852-A375-00796B68EA21}" presName="rootText" presStyleLbl="node4" presStyleIdx="12" presStyleCnt="2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7184F28-D511-4B90-9AD0-E8D421FE32D0}" type="pres">
      <dgm:prSet presAssocID="{9BDE54EE-3945-4852-A375-00796B68EA21}" presName="rootConnector" presStyleLbl="node4" presStyleIdx="12" presStyleCnt="29"/>
      <dgm:spPr/>
      <dgm:t>
        <a:bodyPr/>
        <a:lstStyle/>
        <a:p>
          <a:endParaRPr lang="en-US"/>
        </a:p>
      </dgm:t>
    </dgm:pt>
    <dgm:pt modelId="{376A680D-4BA4-4D0B-B63C-F24F940F5815}" type="pres">
      <dgm:prSet presAssocID="{9BDE54EE-3945-4852-A375-00796B68EA21}" presName="hierChild4" presStyleCnt="0"/>
      <dgm:spPr/>
    </dgm:pt>
    <dgm:pt modelId="{522BB7AA-072B-4A3D-9A69-385525851571}" type="pres">
      <dgm:prSet presAssocID="{9BDE54EE-3945-4852-A375-00796B68EA21}" presName="hierChild5" presStyleCnt="0"/>
      <dgm:spPr/>
    </dgm:pt>
    <dgm:pt modelId="{43887142-65CB-4083-81C9-2F65621B0064}" type="pres">
      <dgm:prSet presAssocID="{7B0E03DA-2D51-461F-850D-3A2C0C37147B}" presName="Name37" presStyleLbl="parChTrans1D4" presStyleIdx="13" presStyleCnt="29"/>
      <dgm:spPr/>
      <dgm:t>
        <a:bodyPr/>
        <a:lstStyle/>
        <a:p>
          <a:endParaRPr lang="en-US"/>
        </a:p>
      </dgm:t>
    </dgm:pt>
    <dgm:pt modelId="{FCF073DA-3E71-4A69-B1D0-19315C772374}" type="pres">
      <dgm:prSet presAssocID="{2CDFA5D8-E48C-4910-ADFB-6308A82EF005}" presName="hierRoot2" presStyleCnt="0">
        <dgm:presLayoutVars>
          <dgm:hierBranch val="init"/>
        </dgm:presLayoutVars>
      </dgm:prSet>
      <dgm:spPr/>
    </dgm:pt>
    <dgm:pt modelId="{51534235-A18A-4675-81B8-CB227BD14767}" type="pres">
      <dgm:prSet presAssocID="{2CDFA5D8-E48C-4910-ADFB-6308A82EF005}" presName="rootComposite" presStyleCnt="0"/>
      <dgm:spPr/>
    </dgm:pt>
    <dgm:pt modelId="{B9E15E61-AEBE-4620-80EF-16BA6C1CCC44}" type="pres">
      <dgm:prSet presAssocID="{2CDFA5D8-E48C-4910-ADFB-6308A82EF005}" presName="rootText" presStyleLbl="node4" presStyleIdx="13" presStyleCnt="2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02C26C4-FB76-446E-A010-3F3F5F0B3EF8}" type="pres">
      <dgm:prSet presAssocID="{2CDFA5D8-E48C-4910-ADFB-6308A82EF005}" presName="rootConnector" presStyleLbl="node4" presStyleIdx="13" presStyleCnt="29"/>
      <dgm:spPr/>
      <dgm:t>
        <a:bodyPr/>
        <a:lstStyle/>
        <a:p>
          <a:endParaRPr lang="en-US"/>
        </a:p>
      </dgm:t>
    </dgm:pt>
    <dgm:pt modelId="{580C0FAC-2C20-455E-8EE4-EF24F29B0F90}" type="pres">
      <dgm:prSet presAssocID="{2CDFA5D8-E48C-4910-ADFB-6308A82EF005}" presName="hierChild4" presStyleCnt="0"/>
      <dgm:spPr/>
    </dgm:pt>
    <dgm:pt modelId="{D22218F8-6CEF-4274-84DC-AA9697569B9F}" type="pres">
      <dgm:prSet presAssocID="{2CDFA5D8-E48C-4910-ADFB-6308A82EF005}" presName="hierChild5" presStyleCnt="0"/>
      <dgm:spPr/>
    </dgm:pt>
    <dgm:pt modelId="{1AB4CAF5-8C2F-4CB8-B370-71D2F9EEA245}" type="pres">
      <dgm:prSet presAssocID="{C3E9A307-CC60-40FC-8B1F-5308BDFC4D45}" presName="hierChild5" presStyleCnt="0"/>
      <dgm:spPr/>
    </dgm:pt>
    <dgm:pt modelId="{3E625739-C1AF-4AE8-BCE7-05074BF07F85}" type="pres">
      <dgm:prSet presAssocID="{9DED8379-65AB-4839-8381-B4FAC6FB5663}" presName="hierChild5" presStyleCnt="0"/>
      <dgm:spPr/>
    </dgm:pt>
    <dgm:pt modelId="{69CA6718-69A0-48CE-9144-8CE8FD6D31B2}" type="pres">
      <dgm:prSet presAssocID="{90B3C68B-2AA6-4159-A0AA-FFBD652962B2}" presName="hierChild5" presStyleCnt="0"/>
      <dgm:spPr/>
    </dgm:pt>
    <dgm:pt modelId="{3D75EA2E-BFD8-4D6C-A3FB-57D12262D061}" type="pres">
      <dgm:prSet presAssocID="{E420EF71-19F8-448A-9C42-1F5BF9924A53}" presName="Name37" presStyleLbl="parChTrans1D2" presStyleIdx="1" presStyleCnt="5"/>
      <dgm:spPr/>
      <dgm:t>
        <a:bodyPr/>
        <a:lstStyle/>
        <a:p>
          <a:endParaRPr lang="en-US"/>
        </a:p>
      </dgm:t>
    </dgm:pt>
    <dgm:pt modelId="{75A84605-F0B9-42A4-9A8C-6A707A863A27}" type="pres">
      <dgm:prSet presAssocID="{C9DF1206-2C13-45E9-92D4-845869EA4F11}" presName="hierRoot2" presStyleCnt="0">
        <dgm:presLayoutVars>
          <dgm:hierBranch val="init"/>
        </dgm:presLayoutVars>
      </dgm:prSet>
      <dgm:spPr/>
    </dgm:pt>
    <dgm:pt modelId="{1343513B-A5F3-4C5F-A011-196092E46255}" type="pres">
      <dgm:prSet presAssocID="{C9DF1206-2C13-45E9-92D4-845869EA4F11}" presName="rootComposite" presStyleCnt="0"/>
      <dgm:spPr/>
    </dgm:pt>
    <dgm:pt modelId="{C409506C-DFBA-46CD-87B9-2C19932B2F71}" type="pres">
      <dgm:prSet presAssocID="{C9DF1206-2C13-45E9-92D4-845869EA4F11}" presName="rootText" presStyleLbl="node2" presStyleIdx="1" presStyleCnt="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94A7367-4056-4161-BB81-48E5F240A48D}" type="pres">
      <dgm:prSet presAssocID="{C9DF1206-2C13-45E9-92D4-845869EA4F11}" presName="rootConnector" presStyleLbl="node2" presStyleIdx="1" presStyleCnt="5"/>
      <dgm:spPr/>
      <dgm:t>
        <a:bodyPr/>
        <a:lstStyle/>
        <a:p>
          <a:endParaRPr lang="en-US"/>
        </a:p>
      </dgm:t>
    </dgm:pt>
    <dgm:pt modelId="{F3188C66-362E-4704-9DF2-4E8B6E97292B}" type="pres">
      <dgm:prSet presAssocID="{C9DF1206-2C13-45E9-92D4-845869EA4F11}" presName="hierChild4" presStyleCnt="0"/>
      <dgm:spPr/>
    </dgm:pt>
    <dgm:pt modelId="{7E3D84F3-00ED-4BCF-8429-33324D643668}" type="pres">
      <dgm:prSet presAssocID="{639B54AF-78A3-4B9E-8DEC-7E91C2CB6B29}" presName="Name37" presStyleLbl="parChTrans1D3" presStyleIdx="2" presStyleCnt="14"/>
      <dgm:spPr/>
      <dgm:t>
        <a:bodyPr/>
        <a:lstStyle/>
        <a:p>
          <a:endParaRPr lang="en-US"/>
        </a:p>
      </dgm:t>
    </dgm:pt>
    <dgm:pt modelId="{4F9F888D-4253-4FAD-9BCF-865B2DA4030D}" type="pres">
      <dgm:prSet presAssocID="{BE26FEAC-D8E6-4859-AF1B-7F1AEEBBE9CC}" presName="hierRoot2" presStyleCnt="0">
        <dgm:presLayoutVars>
          <dgm:hierBranch val="init"/>
        </dgm:presLayoutVars>
      </dgm:prSet>
      <dgm:spPr/>
    </dgm:pt>
    <dgm:pt modelId="{AC36B6D3-2357-4511-AE7C-0DA4CD018BCF}" type="pres">
      <dgm:prSet presAssocID="{BE26FEAC-D8E6-4859-AF1B-7F1AEEBBE9CC}" presName="rootComposite" presStyleCnt="0"/>
      <dgm:spPr/>
    </dgm:pt>
    <dgm:pt modelId="{2055A546-9E51-4A21-90EA-CF9B2539A477}" type="pres">
      <dgm:prSet presAssocID="{BE26FEAC-D8E6-4859-AF1B-7F1AEEBBE9CC}" presName="rootText" presStyleLbl="node3" presStyleIdx="2" presStyleCnt="1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FF6D80E-B999-4681-859D-E6E8E0D7E5FC}" type="pres">
      <dgm:prSet presAssocID="{BE26FEAC-D8E6-4859-AF1B-7F1AEEBBE9CC}" presName="rootConnector" presStyleLbl="node3" presStyleIdx="2" presStyleCnt="14"/>
      <dgm:spPr/>
      <dgm:t>
        <a:bodyPr/>
        <a:lstStyle/>
        <a:p>
          <a:endParaRPr lang="en-US"/>
        </a:p>
      </dgm:t>
    </dgm:pt>
    <dgm:pt modelId="{02B810E0-1A40-4AE7-8B8F-3D9FCEECA5B4}" type="pres">
      <dgm:prSet presAssocID="{BE26FEAC-D8E6-4859-AF1B-7F1AEEBBE9CC}" presName="hierChild4" presStyleCnt="0"/>
      <dgm:spPr/>
    </dgm:pt>
    <dgm:pt modelId="{8A532C3D-5456-44E8-9A44-E27ED64ED375}" type="pres">
      <dgm:prSet presAssocID="{8E935561-48A0-4A05-920B-9DAF806CA9B4}" presName="Name37" presStyleLbl="parChTrans1D4" presStyleIdx="14" presStyleCnt="29"/>
      <dgm:spPr/>
      <dgm:t>
        <a:bodyPr/>
        <a:lstStyle/>
        <a:p>
          <a:endParaRPr lang="en-US"/>
        </a:p>
      </dgm:t>
    </dgm:pt>
    <dgm:pt modelId="{6C720191-39F6-4A53-8E19-2A090EB73838}" type="pres">
      <dgm:prSet presAssocID="{24D7B124-1020-4DEE-8A2B-9698D32CFBDB}" presName="hierRoot2" presStyleCnt="0">
        <dgm:presLayoutVars>
          <dgm:hierBranch val="init"/>
        </dgm:presLayoutVars>
      </dgm:prSet>
      <dgm:spPr/>
    </dgm:pt>
    <dgm:pt modelId="{EEA58E77-7A9C-4E9E-8837-0081A0AB43F3}" type="pres">
      <dgm:prSet presAssocID="{24D7B124-1020-4DEE-8A2B-9698D32CFBDB}" presName="rootComposite" presStyleCnt="0"/>
      <dgm:spPr/>
    </dgm:pt>
    <dgm:pt modelId="{2111E0AA-48F9-4F9E-86A9-2AF4CBCEF10E}" type="pres">
      <dgm:prSet presAssocID="{24D7B124-1020-4DEE-8A2B-9698D32CFBDB}" presName="rootText" presStyleLbl="node4" presStyleIdx="14" presStyleCnt="2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C1141D6-D82B-4349-A24B-813917B95D65}" type="pres">
      <dgm:prSet presAssocID="{24D7B124-1020-4DEE-8A2B-9698D32CFBDB}" presName="rootConnector" presStyleLbl="node4" presStyleIdx="14" presStyleCnt="29"/>
      <dgm:spPr/>
      <dgm:t>
        <a:bodyPr/>
        <a:lstStyle/>
        <a:p>
          <a:endParaRPr lang="en-US"/>
        </a:p>
      </dgm:t>
    </dgm:pt>
    <dgm:pt modelId="{5AEDB028-1222-4644-9702-54C84FED1BC9}" type="pres">
      <dgm:prSet presAssocID="{24D7B124-1020-4DEE-8A2B-9698D32CFBDB}" presName="hierChild4" presStyleCnt="0"/>
      <dgm:spPr/>
    </dgm:pt>
    <dgm:pt modelId="{E3F89AD4-5025-4692-A51C-4B2F34F84129}" type="pres">
      <dgm:prSet presAssocID="{85DDF844-FF29-486D-8205-47C256C5AE38}" presName="Name37" presStyleLbl="parChTrans1D4" presStyleIdx="15" presStyleCnt="29"/>
      <dgm:spPr/>
      <dgm:t>
        <a:bodyPr/>
        <a:lstStyle/>
        <a:p>
          <a:endParaRPr lang="en-US"/>
        </a:p>
      </dgm:t>
    </dgm:pt>
    <dgm:pt modelId="{56576A95-9BE3-4AFD-A789-8A572792B22F}" type="pres">
      <dgm:prSet presAssocID="{30260A2D-7B25-4B68-9C1B-480B68AE11ED}" presName="hierRoot2" presStyleCnt="0">
        <dgm:presLayoutVars>
          <dgm:hierBranch val="init"/>
        </dgm:presLayoutVars>
      </dgm:prSet>
      <dgm:spPr/>
    </dgm:pt>
    <dgm:pt modelId="{0EAA5D04-DCDE-4DC2-AE09-6059DB156D04}" type="pres">
      <dgm:prSet presAssocID="{30260A2D-7B25-4B68-9C1B-480B68AE11ED}" presName="rootComposite" presStyleCnt="0"/>
      <dgm:spPr/>
    </dgm:pt>
    <dgm:pt modelId="{FB536E91-04BA-4A4F-8714-9DC6D7B9BC94}" type="pres">
      <dgm:prSet presAssocID="{30260A2D-7B25-4B68-9C1B-480B68AE11ED}" presName="rootText" presStyleLbl="node4" presStyleIdx="15" presStyleCnt="2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F5BE285-33E3-45BD-BF15-B2832F28080B}" type="pres">
      <dgm:prSet presAssocID="{30260A2D-7B25-4B68-9C1B-480B68AE11ED}" presName="rootConnector" presStyleLbl="node4" presStyleIdx="15" presStyleCnt="29"/>
      <dgm:spPr/>
      <dgm:t>
        <a:bodyPr/>
        <a:lstStyle/>
        <a:p>
          <a:endParaRPr lang="en-US"/>
        </a:p>
      </dgm:t>
    </dgm:pt>
    <dgm:pt modelId="{C519040A-78B6-481D-AD95-B193481D2C47}" type="pres">
      <dgm:prSet presAssocID="{30260A2D-7B25-4B68-9C1B-480B68AE11ED}" presName="hierChild4" presStyleCnt="0"/>
      <dgm:spPr/>
    </dgm:pt>
    <dgm:pt modelId="{BF327EFE-00CA-4BA2-B975-2DD29D25DBC6}" type="pres">
      <dgm:prSet presAssocID="{30260A2D-7B25-4B68-9C1B-480B68AE11ED}" presName="hierChild5" presStyleCnt="0"/>
      <dgm:spPr/>
    </dgm:pt>
    <dgm:pt modelId="{6BE9B386-4CA2-44EC-9B08-206AD9ED0097}" type="pres">
      <dgm:prSet presAssocID="{A123C4D6-F063-4942-87C0-E66F1294AF4B}" presName="Name37" presStyleLbl="parChTrans1D4" presStyleIdx="16" presStyleCnt="29"/>
      <dgm:spPr/>
      <dgm:t>
        <a:bodyPr/>
        <a:lstStyle/>
        <a:p>
          <a:endParaRPr lang="en-US"/>
        </a:p>
      </dgm:t>
    </dgm:pt>
    <dgm:pt modelId="{3A9A8883-7FD4-4D87-A38F-2110DD212242}" type="pres">
      <dgm:prSet presAssocID="{56680C78-835D-4053-ABBB-855DFDCCDE19}" presName="hierRoot2" presStyleCnt="0">
        <dgm:presLayoutVars>
          <dgm:hierBranch val="init"/>
        </dgm:presLayoutVars>
      </dgm:prSet>
      <dgm:spPr/>
    </dgm:pt>
    <dgm:pt modelId="{50D90402-DA12-4B49-87A9-6EBB4B0C81E2}" type="pres">
      <dgm:prSet presAssocID="{56680C78-835D-4053-ABBB-855DFDCCDE19}" presName="rootComposite" presStyleCnt="0"/>
      <dgm:spPr/>
    </dgm:pt>
    <dgm:pt modelId="{31F6AC45-64D6-4275-8791-3BFA7885EFA4}" type="pres">
      <dgm:prSet presAssocID="{56680C78-835D-4053-ABBB-855DFDCCDE19}" presName="rootText" presStyleLbl="node4" presStyleIdx="16" presStyleCnt="2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785A63A-C13A-4488-B243-330D7A40F7F6}" type="pres">
      <dgm:prSet presAssocID="{56680C78-835D-4053-ABBB-855DFDCCDE19}" presName="rootConnector" presStyleLbl="node4" presStyleIdx="16" presStyleCnt="29"/>
      <dgm:spPr/>
      <dgm:t>
        <a:bodyPr/>
        <a:lstStyle/>
        <a:p>
          <a:endParaRPr lang="en-US"/>
        </a:p>
      </dgm:t>
    </dgm:pt>
    <dgm:pt modelId="{7C7EB878-1689-4303-A460-F4F3408A3F91}" type="pres">
      <dgm:prSet presAssocID="{56680C78-835D-4053-ABBB-855DFDCCDE19}" presName="hierChild4" presStyleCnt="0"/>
      <dgm:spPr/>
    </dgm:pt>
    <dgm:pt modelId="{121F0AA7-2FCA-475D-9DF1-FB708B423934}" type="pres">
      <dgm:prSet presAssocID="{56680C78-835D-4053-ABBB-855DFDCCDE19}" presName="hierChild5" presStyleCnt="0"/>
      <dgm:spPr/>
    </dgm:pt>
    <dgm:pt modelId="{891B460B-5DD0-4E04-8041-9D2D94B1C315}" type="pres">
      <dgm:prSet presAssocID="{3FC5AD23-1231-4CAF-A7E8-0626A975BFCD}" presName="Name37" presStyleLbl="parChTrans1D4" presStyleIdx="17" presStyleCnt="29"/>
      <dgm:spPr/>
      <dgm:t>
        <a:bodyPr/>
        <a:lstStyle/>
        <a:p>
          <a:endParaRPr lang="en-US"/>
        </a:p>
      </dgm:t>
    </dgm:pt>
    <dgm:pt modelId="{0FCCA2A3-BA04-4C2B-B32D-4B5BC2B3A007}" type="pres">
      <dgm:prSet presAssocID="{A128DEFB-08B6-48F7-B05E-9EABA1A44A35}" presName="hierRoot2" presStyleCnt="0">
        <dgm:presLayoutVars>
          <dgm:hierBranch val="init"/>
        </dgm:presLayoutVars>
      </dgm:prSet>
      <dgm:spPr/>
    </dgm:pt>
    <dgm:pt modelId="{C39AC5EB-EC65-4D28-84E4-5257B68F6D07}" type="pres">
      <dgm:prSet presAssocID="{A128DEFB-08B6-48F7-B05E-9EABA1A44A35}" presName="rootComposite" presStyleCnt="0"/>
      <dgm:spPr/>
    </dgm:pt>
    <dgm:pt modelId="{9DBA31F1-DD18-4E52-8E98-E5899FE39603}" type="pres">
      <dgm:prSet presAssocID="{A128DEFB-08B6-48F7-B05E-9EABA1A44A35}" presName="rootText" presStyleLbl="node4" presStyleIdx="17" presStyleCnt="2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1762094-08DC-4ADE-8EA9-17059C9DE2D0}" type="pres">
      <dgm:prSet presAssocID="{A128DEFB-08B6-48F7-B05E-9EABA1A44A35}" presName="rootConnector" presStyleLbl="node4" presStyleIdx="17" presStyleCnt="29"/>
      <dgm:spPr/>
      <dgm:t>
        <a:bodyPr/>
        <a:lstStyle/>
        <a:p>
          <a:endParaRPr lang="en-US"/>
        </a:p>
      </dgm:t>
    </dgm:pt>
    <dgm:pt modelId="{E2E18F9F-E92E-4379-9D39-8A90F1D439D8}" type="pres">
      <dgm:prSet presAssocID="{A128DEFB-08B6-48F7-B05E-9EABA1A44A35}" presName="hierChild4" presStyleCnt="0"/>
      <dgm:spPr/>
    </dgm:pt>
    <dgm:pt modelId="{49665856-5AF4-42ED-ABD2-2F4BCC5FADD1}" type="pres">
      <dgm:prSet presAssocID="{A128DEFB-08B6-48F7-B05E-9EABA1A44A35}" presName="hierChild5" presStyleCnt="0"/>
      <dgm:spPr/>
    </dgm:pt>
    <dgm:pt modelId="{AEF40FA4-CB68-4F36-BBC6-9798D0CFB20E}" type="pres">
      <dgm:prSet presAssocID="{51A5E9A5-B4B0-499A-A83F-31AFC07EB876}" presName="Name37" presStyleLbl="parChTrans1D4" presStyleIdx="18" presStyleCnt="29"/>
      <dgm:spPr/>
      <dgm:t>
        <a:bodyPr/>
        <a:lstStyle/>
        <a:p>
          <a:endParaRPr lang="en-US"/>
        </a:p>
      </dgm:t>
    </dgm:pt>
    <dgm:pt modelId="{FEC81D05-933C-40BC-9F66-1581D14D4E41}" type="pres">
      <dgm:prSet presAssocID="{E12020A9-E5A6-4332-9BE2-01D1FD812EFA}" presName="hierRoot2" presStyleCnt="0">
        <dgm:presLayoutVars>
          <dgm:hierBranch val="init"/>
        </dgm:presLayoutVars>
      </dgm:prSet>
      <dgm:spPr/>
    </dgm:pt>
    <dgm:pt modelId="{D7941A1E-6C59-40A9-A251-F3AC12B39F1A}" type="pres">
      <dgm:prSet presAssocID="{E12020A9-E5A6-4332-9BE2-01D1FD812EFA}" presName="rootComposite" presStyleCnt="0"/>
      <dgm:spPr/>
    </dgm:pt>
    <dgm:pt modelId="{06E5FD87-839F-4836-9FC2-5EA10B307275}" type="pres">
      <dgm:prSet presAssocID="{E12020A9-E5A6-4332-9BE2-01D1FD812EFA}" presName="rootText" presStyleLbl="node4" presStyleIdx="18" presStyleCnt="2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71541D9-B2EA-454C-8FFF-29F6A1A10874}" type="pres">
      <dgm:prSet presAssocID="{E12020A9-E5A6-4332-9BE2-01D1FD812EFA}" presName="rootConnector" presStyleLbl="node4" presStyleIdx="18" presStyleCnt="29"/>
      <dgm:spPr/>
      <dgm:t>
        <a:bodyPr/>
        <a:lstStyle/>
        <a:p>
          <a:endParaRPr lang="en-US"/>
        </a:p>
      </dgm:t>
    </dgm:pt>
    <dgm:pt modelId="{0371A0FF-5B2A-4E98-942E-DC1DC497CDED}" type="pres">
      <dgm:prSet presAssocID="{E12020A9-E5A6-4332-9BE2-01D1FD812EFA}" presName="hierChild4" presStyleCnt="0"/>
      <dgm:spPr/>
    </dgm:pt>
    <dgm:pt modelId="{DB3D6E78-61D5-4CD2-BFF7-98CD18A69AFE}" type="pres">
      <dgm:prSet presAssocID="{E12020A9-E5A6-4332-9BE2-01D1FD812EFA}" presName="hierChild5" presStyleCnt="0"/>
      <dgm:spPr/>
    </dgm:pt>
    <dgm:pt modelId="{5011F246-18E3-4FC5-AA51-748C37B71322}" type="pres">
      <dgm:prSet presAssocID="{24D7B124-1020-4DEE-8A2B-9698D32CFBDB}" presName="hierChild5" presStyleCnt="0"/>
      <dgm:spPr/>
    </dgm:pt>
    <dgm:pt modelId="{270FBEE0-6AA0-4704-8956-8D8F3F994406}" type="pres">
      <dgm:prSet presAssocID="{701F1A19-AA2D-4B9F-9782-46D0B0BB35C4}" presName="Name37" presStyleLbl="parChTrans1D4" presStyleIdx="19" presStyleCnt="29"/>
      <dgm:spPr/>
      <dgm:t>
        <a:bodyPr/>
        <a:lstStyle/>
        <a:p>
          <a:endParaRPr lang="en-US"/>
        </a:p>
      </dgm:t>
    </dgm:pt>
    <dgm:pt modelId="{493CAB3B-7940-47A4-93CB-FC732E4A0E39}" type="pres">
      <dgm:prSet presAssocID="{3EC98BA5-4865-4DF9-BDCF-9A708DE3B506}" presName="hierRoot2" presStyleCnt="0">
        <dgm:presLayoutVars>
          <dgm:hierBranch val="init"/>
        </dgm:presLayoutVars>
      </dgm:prSet>
      <dgm:spPr/>
    </dgm:pt>
    <dgm:pt modelId="{9720C0FB-6D46-4F8C-A894-45E28F873275}" type="pres">
      <dgm:prSet presAssocID="{3EC98BA5-4865-4DF9-BDCF-9A708DE3B506}" presName="rootComposite" presStyleCnt="0"/>
      <dgm:spPr/>
    </dgm:pt>
    <dgm:pt modelId="{88AE6FBE-7677-4FCE-BF53-4A8B213AF572}" type="pres">
      <dgm:prSet presAssocID="{3EC98BA5-4865-4DF9-BDCF-9A708DE3B506}" presName="rootText" presStyleLbl="node4" presStyleIdx="19" presStyleCnt="2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55A834B-1640-4222-AF00-FEA4B363A284}" type="pres">
      <dgm:prSet presAssocID="{3EC98BA5-4865-4DF9-BDCF-9A708DE3B506}" presName="rootConnector" presStyleLbl="node4" presStyleIdx="19" presStyleCnt="29"/>
      <dgm:spPr/>
      <dgm:t>
        <a:bodyPr/>
        <a:lstStyle/>
        <a:p>
          <a:endParaRPr lang="en-US"/>
        </a:p>
      </dgm:t>
    </dgm:pt>
    <dgm:pt modelId="{59422177-8FF6-4DD0-9805-B9FC749EEA72}" type="pres">
      <dgm:prSet presAssocID="{3EC98BA5-4865-4DF9-BDCF-9A708DE3B506}" presName="hierChild4" presStyleCnt="0"/>
      <dgm:spPr/>
    </dgm:pt>
    <dgm:pt modelId="{9944EBD5-C828-43A9-8A13-CCB26ED1F087}" type="pres">
      <dgm:prSet presAssocID="{C694F70B-9CC1-42D3-9B5A-E56FDDC56051}" presName="Name37" presStyleLbl="parChTrans1D4" presStyleIdx="20" presStyleCnt="29"/>
      <dgm:spPr/>
      <dgm:t>
        <a:bodyPr/>
        <a:lstStyle/>
        <a:p>
          <a:endParaRPr lang="en-US"/>
        </a:p>
      </dgm:t>
    </dgm:pt>
    <dgm:pt modelId="{27893A66-6019-49B1-8B20-B502EEDFE29D}" type="pres">
      <dgm:prSet presAssocID="{3FA6DDC6-2579-4669-BD4D-31D05D4195BA}" presName="hierRoot2" presStyleCnt="0">
        <dgm:presLayoutVars>
          <dgm:hierBranch val="init"/>
        </dgm:presLayoutVars>
      </dgm:prSet>
      <dgm:spPr/>
    </dgm:pt>
    <dgm:pt modelId="{452479AD-10DF-4E52-B9E7-A1BE2EFACC7E}" type="pres">
      <dgm:prSet presAssocID="{3FA6DDC6-2579-4669-BD4D-31D05D4195BA}" presName="rootComposite" presStyleCnt="0"/>
      <dgm:spPr/>
    </dgm:pt>
    <dgm:pt modelId="{FB7F0497-AC5A-4037-AD7C-46BFF22DDE6B}" type="pres">
      <dgm:prSet presAssocID="{3FA6DDC6-2579-4669-BD4D-31D05D4195BA}" presName="rootText" presStyleLbl="node4" presStyleIdx="20" presStyleCnt="2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0EF2818-1495-4A5C-BDFB-CC4C5B19A10B}" type="pres">
      <dgm:prSet presAssocID="{3FA6DDC6-2579-4669-BD4D-31D05D4195BA}" presName="rootConnector" presStyleLbl="node4" presStyleIdx="20" presStyleCnt="29"/>
      <dgm:spPr/>
      <dgm:t>
        <a:bodyPr/>
        <a:lstStyle/>
        <a:p>
          <a:endParaRPr lang="en-US"/>
        </a:p>
      </dgm:t>
    </dgm:pt>
    <dgm:pt modelId="{D14F61EF-ED3B-4B96-9A01-2155535516D4}" type="pres">
      <dgm:prSet presAssocID="{3FA6DDC6-2579-4669-BD4D-31D05D4195BA}" presName="hierChild4" presStyleCnt="0"/>
      <dgm:spPr/>
    </dgm:pt>
    <dgm:pt modelId="{7537EEE7-FCAE-48D2-A486-DCE39CC9B7D1}" type="pres">
      <dgm:prSet presAssocID="{3FA6DDC6-2579-4669-BD4D-31D05D4195BA}" presName="hierChild5" presStyleCnt="0"/>
      <dgm:spPr/>
    </dgm:pt>
    <dgm:pt modelId="{2D28004C-D283-48B7-BF6A-F6DCC2543F39}" type="pres">
      <dgm:prSet presAssocID="{001BE4AD-54EB-460E-827E-7C9DD12B8FD8}" presName="Name37" presStyleLbl="parChTrans1D4" presStyleIdx="21" presStyleCnt="29"/>
      <dgm:spPr/>
      <dgm:t>
        <a:bodyPr/>
        <a:lstStyle/>
        <a:p>
          <a:endParaRPr lang="en-US"/>
        </a:p>
      </dgm:t>
    </dgm:pt>
    <dgm:pt modelId="{A6522ED9-8A70-44BA-A306-178F09408E1F}" type="pres">
      <dgm:prSet presAssocID="{C684F114-DA67-4901-A34F-2CF310102D34}" presName="hierRoot2" presStyleCnt="0">
        <dgm:presLayoutVars>
          <dgm:hierBranch val="init"/>
        </dgm:presLayoutVars>
      </dgm:prSet>
      <dgm:spPr/>
    </dgm:pt>
    <dgm:pt modelId="{EAC58030-AECB-4722-94A6-64907D14FEDE}" type="pres">
      <dgm:prSet presAssocID="{C684F114-DA67-4901-A34F-2CF310102D34}" presName="rootComposite" presStyleCnt="0"/>
      <dgm:spPr/>
    </dgm:pt>
    <dgm:pt modelId="{0DEAD7B1-F20B-4975-879B-1C97F65BCAE9}" type="pres">
      <dgm:prSet presAssocID="{C684F114-DA67-4901-A34F-2CF310102D34}" presName="rootText" presStyleLbl="node4" presStyleIdx="21" presStyleCnt="2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C2D2780-D28A-4378-B169-D69FC5E1EFF8}" type="pres">
      <dgm:prSet presAssocID="{C684F114-DA67-4901-A34F-2CF310102D34}" presName="rootConnector" presStyleLbl="node4" presStyleIdx="21" presStyleCnt="29"/>
      <dgm:spPr/>
      <dgm:t>
        <a:bodyPr/>
        <a:lstStyle/>
        <a:p>
          <a:endParaRPr lang="en-US"/>
        </a:p>
      </dgm:t>
    </dgm:pt>
    <dgm:pt modelId="{BBCB2666-5F74-45F8-84A6-BD8FF0AFEC21}" type="pres">
      <dgm:prSet presAssocID="{C684F114-DA67-4901-A34F-2CF310102D34}" presName="hierChild4" presStyleCnt="0"/>
      <dgm:spPr/>
    </dgm:pt>
    <dgm:pt modelId="{AD928BC2-2001-4071-AFC3-F714883F9450}" type="pres">
      <dgm:prSet presAssocID="{C684F114-DA67-4901-A34F-2CF310102D34}" presName="hierChild5" presStyleCnt="0"/>
      <dgm:spPr/>
    </dgm:pt>
    <dgm:pt modelId="{D135E625-E2DE-43CE-980F-FBD78E0B6281}" type="pres">
      <dgm:prSet presAssocID="{3EC98BA5-4865-4DF9-BDCF-9A708DE3B506}" presName="hierChild5" presStyleCnt="0"/>
      <dgm:spPr/>
    </dgm:pt>
    <dgm:pt modelId="{1D6C568A-4B3B-4168-9CE7-BCD3248B8E86}" type="pres">
      <dgm:prSet presAssocID="{BE26FEAC-D8E6-4859-AF1B-7F1AEEBBE9CC}" presName="hierChild5" presStyleCnt="0"/>
      <dgm:spPr/>
    </dgm:pt>
    <dgm:pt modelId="{D62662A8-0EB4-43A7-AD2E-7EF26C82EB47}" type="pres">
      <dgm:prSet presAssocID="{C6194110-3940-4293-B2E7-0A9DCCD2A3AA}" presName="Name37" presStyleLbl="parChTrans1D3" presStyleIdx="3" presStyleCnt="14"/>
      <dgm:spPr/>
      <dgm:t>
        <a:bodyPr/>
        <a:lstStyle/>
        <a:p>
          <a:endParaRPr lang="en-US"/>
        </a:p>
      </dgm:t>
    </dgm:pt>
    <dgm:pt modelId="{A7D37B88-EFAA-401E-82D3-DC48D89C278F}" type="pres">
      <dgm:prSet presAssocID="{B4C6B8A1-6B42-4393-AD33-DBE81AAAE9EC}" presName="hierRoot2" presStyleCnt="0">
        <dgm:presLayoutVars>
          <dgm:hierBranch val="init"/>
        </dgm:presLayoutVars>
      </dgm:prSet>
      <dgm:spPr/>
    </dgm:pt>
    <dgm:pt modelId="{E04995C7-31D1-4590-A85E-49222BCF2B63}" type="pres">
      <dgm:prSet presAssocID="{B4C6B8A1-6B42-4393-AD33-DBE81AAAE9EC}" presName="rootComposite" presStyleCnt="0"/>
      <dgm:spPr/>
    </dgm:pt>
    <dgm:pt modelId="{B94E3941-3687-427D-B799-4F3006AADBF5}" type="pres">
      <dgm:prSet presAssocID="{B4C6B8A1-6B42-4393-AD33-DBE81AAAE9EC}" presName="rootText" presStyleLbl="node3" presStyleIdx="3" presStyleCnt="1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0C727F0-59B4-4ABD-8D97-D5EB24FC08E2}" type="pres">
      <dgm:prSet presAssocID="{B4C6B8A1-6B42-4393-AD33-DBE81AAAE9EC}" presName="rootConnector" presStyleLbl="node3" presStyleIdx="3" presStyleCnt="14"/>
      <dgm:spPr/>
      <dgm:t>
        <a:bodyPr/>
        <a:lstStyle/>
        <a:p>
          <a:endParaRPr lang="en-US"/>
        </a:p>
      </dgm:t>
    </dgm:pt>
    <dgm:pt modelId="{E33317A7-1D63-4687-B3B7-3093EC873CC1}" type="pres">
      <dgm:prSet presAssocID="{B4C6B8A1-6B42-4393-AD33-DBE81AAAE9EC}" presName="hierChild4" presStyleCnt="0"/>
      <dgm:spPr/>
    </dgm:pt>
    <dgm:pt modelId="{DF9BBB57-D597-4BCF-A42B-696538175BB4}" type="pres">
      <dgm:prSet presAssocID="{6CC360CB-D18A-4B99-9C3D-EDB6BC29A253}" presName="Name37" presStyleLbl="parChTrans1D4" presStyleIdx="22" presStyleCnt="29"/>
      <dgm:spPr/>
      <dgm:t>
        <a:bodyPr/>
        <a:lstStyle/>
        <a:p>
          <a:endParaRPr lang="en-US"/>
        </a:p>
      </dgm:t>
    </dgm:pt>
    <dgm:pt modelId="{9DD8EE72-9CCA-4683-8321-F2DD688EA5C9}" type="pres">
      <dgm:prSet presAssocID="{B0673CA1-0787-4663-ABDD-63A97B531C63}" presName="hierRoot2" presStyleCnt="0">
        <dgm:presLayoutVars>
          <dgm:hierBranch val="init"/>
        </dgm:presLayoutVars>
      </dgm:prSet>
      <dgm:spPr/>
    </dgm:pt>
    <dgm:pt modelId="{4C9D9524-BD87-4435-8030-217EFB1039CB}" type="pres">
      <dgm:prSet presAssocID="{B0673CA1-0787-4663-ABDD-63A97B531C63}" presName="rootComposite" presStyleCnt="0"/>
      <dgm:spPr/>
    </dgm:pt>
    <dgm:pt modelId="{12FDE786-B43A-4B42-99F8-C2211595EB77}" type="pres">
      <dgm:prSet presAssocID="{B0673CA1-0787-4663-ABDD-63A97B531C63}" presName="rootText" presStyleLbl="node4" presStyleIdx="22" presStyleCnt="2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A29F681-D4A4-44C5-9236-8AD04A389274}" type="pres">
      <dgm:prSet presAssocID="{B0673CA1-0787-4663-ABDD-63A97B531C63}" presName="rootConnector" presStyleLbl="node4" presStyleIdx="22" presStyleCnt="29"/>
      <dgm:spPr/>
      <dgm:t>
        <a:bodyPr/>
        <a:lstStyle/>
        <a:p>
          <a:endParaRPr lang="en-US"/>
        </a:p>
      </dgm:t>
    </dgm:pt>
    <dgm:pt modelId="{F7B9CC68-6952-4784-884C-116FF65B27E9}" type="pres">
      <dgm:prSet presAssocID="{B0673CA1-0787-4663-ABDD-63A97B531C63}" presName="hierChild4" presStyleCnt="0"/>
      <dgm:spPr/>
    </dgm:pt>
    <dgm:pt modelId="{1C0C32A4-B715-4989-BCE8-61E63A301D44}" type="pres">
      <dgm:prSet presAssocID="{B0673CA1-0787-4663-ABDD-63A97B531C63}" presName="hierChild5" presStyleCnt="0"/>
      <dgm:spPr/>
    </dgm:pt>
    <dgm:pt modelId="{05F4C6BD-C459-4F74-90E7-2F30776BD4F4}" type="pres">
      <dgm:prSet presAssocID="{B4C6B8A1-6B42-4393-AD33-DBE81AAAE9EC}" presName="hierChild5" presStyleCnt="0"/>
      <dgm:spPr/>
    </dgm:pt>
    <dgm:pt modelId="{C151C31C-25C2-4337-AC99-2822AD37E02F}" type="pres">
      <dgm:prSet presAssocID="{4BAF4DE6-8549-4AEB-893C-88DFB81788BF}" presName="Name37" presStyleLbl="parChTrans1D3" presStyleIdx="4" presStyleCnt="14"/>
      <dgm:spPr/>
      <dgm:t>
        <a:bodyPr/>
        <a:lstStyle/>
        <a:p>
          <a:endParaRPr lang="en-US"/>
        </a:p>
      </dgm:t>
    </dgm:pt>
    <dgm:pt modelId="{1809839A-A18C-4B95-A479-4C2814467D50}" type="pres">
      <dgm:prSet presAssocID="{69E85980-7616-41D1-A3C5-AE979E086485}" presName="hierRoot2" presStyleCnt="0">
        <dgm:presLayoutVars>
          <dgm:hierBranch val="init"/>
        </dgm:presLayoutVars>
      </dgm:prSet>
      <dgm:spPr/>
    </dgm:pt>
    <dgm:pt modelId="{93824F26-7CF4-46C3-8E5A-81595714B2ED}" type="pres">
      <dgm:prSet presAssocID="{69E85980-7616-41D1-A3C5-AE979E086485}" presName="rootComposite" presStyleCnt="0"/>
      <dgm:spPr/>
    </dgm:pt>
    <dgm:pt modelId="{36BCA34E-F843-46A6-BBFD-A30F723E56ED}" type="pres">
      <dgm:prSet presAssocID="{69E85980-7616-41D1-A3C5-AE979E086485}" presName="rootText" presStyleLbl="node3" presStyleIdx="4" presStyleCnt="1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EB17EF0-688D-4151-9946-FA2C954A9904}" type="pres">
      <dgm:prSet presAssocID="{69E85980-7616-41D1-A3C5-AE979E086485}" presName="rootConnector" presStyleLbl="node3" presStyleIdx="4" presStyleCnt="14"/>
      <dgm:spPr/>
      <dgm:t>
        <a:bodyPr/>
        <a:lstStyle/>
        <a:p>
          <a:endParaRPr lang="en-US"/>
        </a:p>
      </dgm:t>
    </dgm:pt>
    <dgm:pt modelId="{7A867C82-0263-409D-A96B-02C70EF86382}" type="pres">
      <dgm:prSet presAssocID="{69E85980-7616-41D1-A3C5-AE979E086485}" presName="hierChild4" presStyleCnt="0"/>
      <dgm:spPr/>
    </dgm:pt>
    <dgm:pt modelId="{5BA862AD-D140-49CC-9FB6-7C47F88C939D}" type="pres">
      <dgm:prSet presAssocID="{B48DD13F-85DB-4D65-AE78-9E0FC2793AAC}" presName="Name37" presStyleLbl="parChTrans1D4" presStyleIdx="23" presStyleCnt="29"/>
      <dgm:spPr/>
      <dgm:t>
        <a:bodyPr/>
        <a:lstStyle/>
        <a:p>
          <a:endParaRPr lang="en-US"/>
        </a:p>
      </dgm:t>
    </dgm:pt>
    <dgm:pt modelId="{A60A4152-9BC7-4D2F-9422-2FEC4EDAAF42}" type="pres">
      <dgm:prSet presAssocID="{31504482-6EF6-4923-B2B5-41F02EA3176F}" presName="hierRoot2" presStyleCnt="0">
        <dgm:presLayoutVars>
          <dgm:hierBranch val="init"/>
        </dgm:presLayoutVars>
      </dgm:prSet>
      <dgm:spPr/>
    </dgm:pt>
    <dgm:pt modelId="{BE3AA7B5-CC05-4EC7-B063-98D93F712908}" type="pres">
      <dgm:prSet presAssocID="{31504482-6EF6-4923-B2B5-41F02EA3176F}" presName="rootComposite" presStyleCnt="0"/>
      <dgm:spPr/>
    </dgm:pt>
    <dgm:pt modelId="{F48610CF-BC20-453C-903A-3A027758BE49}" type="pres">
      <dgm:prSet presAssocID="{31504482-6EF6-4923-B2B5-41F02EA3176F}" presName="rootText" presStyleLbl="node4" presStyleIdx="23" presStyleCnt="2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1E84CFE-5293-4501-A181-D876103FF0E1}" type="pres">
      <dgm:prSet presAssocID="{31504482-6EF6-4923-B2B5-41F02EA3176F}" presName="rootConnector" presStyleLbl="node4" presStyleIdx="23" presStyleCnt="29"/>
      <dgm:spPr/>
      <dgm:t>
        <a:bodyPr/>
        <a:lstStyle/>
        <a:p>
          <a:endParaRPr lang="en-US"/>
        </a:p>
      </dgm:t>
    </dgm:pt>
    <dgm:pt modelId="{441B1848-CE6D-44DC-B6AA-D46DEB602582}" type="pres">
      <dgm:prSet presAssocID="{31504482-6EF6-4923-B2B5-41F02EA3176F}" presName="hierChild4" presStyleCnt="0"/>
      <dgm:spPr/>
    </dgm:pt>
    <dgm:pt modelId="{C8649BB8-80F3-4344-A95B-353AD602B72D}" type="pres">
      <dgm:prSet presAssocID="{E8FBC739-CED9-446D-B14F-4B2B279C1260}" presName="Name37" presStyleLbl="parChTrans1D4" presStyleIdx="24" presStyleCnt="29"/>
      <dgm:spPr/>
      <dgm:t>
        <a:bodyPr/>
        <a:lstStyle/>
        <a:p>
          <a:endParaRPr lang="en-US"/>
        </a:p>
      </dgm:t>
    </dgm:pt>
    <dgm:pt modelId="{3EC6C799-393E-4238-82AF-FFF018645615}" type="pres">
      <dgm:prSet presAssocID="{44D9A562-B06B-4B38-ADAF-4E9CDBF6E28B}" presName="hierRoot2" presStyleCnt="0">
        <dgm:presLayoutVars>
          <dgm:hierBranch val="init"/>
        </dgm:presLayoutVars>
      </dgm:prSet>
      <dgm:spPr/>
    </dgm:pt>
    <dgm:pt modelId="{DF7E8B20-EB7C-485B-A0FF-6FD43BC3B511}" type="pres">
      <dgm:prSet presAssocID="{44D9A562-B06B-4B38-ADAF-4E9CDBF6E28B}" presName="rootComposite" presStyleCnt="0"/>
      <dgm:spPr/>
    </dgm:pt>
    <dgm:pt modelId="{86B42267-F01B-4B3D-A41C-2CB56095381A}" type="pres">
      <dgm:prSet presAssocID="{44D9A562-B06B-4B38-ADAF-4E9CDBF6E28B}" presName="rootText" presStyleLbl="node4" presStyleIdx="24" presStyleCnt="2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678BCDC-E271-411E-BF4F-E8D4E12E424C}" type="pres">
      <dgm:prSet presAssocID="{44D9A562-B06B-4B38-ADAF-4E9CDBF6E28B}" presName="rootConnector" presStyleLbl="node4" presStyleIdx="24" presStyleCnt="29"/>
      <dgm:spPr/>
      <dgm:t>
        <a:bodyPr/>
        <a:lstStyle/>
        <a:p>
          <a:endParaRPr lang="en-US"/>
        </a:p>
      </dgm:t>
    </dgm:pt>
    <dgm:pt modelId="{68E28595-C92E-414F-80CB-4BB321E5234C}" type="pres">
      <dgm:prSet presAssocID="{44D9A562-B06B-4B38-ADAF-4E9CDBF6E28B}" presName="hierChild4" presStyleCnt="0"/>
      <dgm:spPr/>
    </dgm:pt>
    <dgm:pt modelId="{552D7B92-1EF9-4E8D-ACD6-08B25BDE434D}" type="pres">
      <dgm:prSet presAssocID="{44D9A562-B06B-4B38-ADAF-4E9CDBF6E28B}" presName="hierChild5" presStyleCnt="0"/>
      <dgm:spPr/>
    </dgm:pt>
    <dgm:pt modelId="{6D0E61C4-FD16-4220-A481-EF537436EED9}" type="pres">
      <dgm:prSet presAssocID="{46DFDA5E-08B4-497B-B70A-A26C94A8404B}" presName="Name37" presStyleLbl="parChTrans1D4" presStyleIdx="25" presStyleCnt="29"/>
      <dgm:spPr/>
      <dgm:t>
        <a:bodyPr/>
        <a:lstStyle/>
        <a:p>
          <a:endParaRPr lang="en-US"/>
        </a:p>
      </dgm:t>
    </dgm:pt>
    <dgm:pt modelId="{BCEC2560-A052-46CA-98A1-93CF69A5C6F9}" type="pres">
      <dgm:prSet presAssocID="{13FA9A54-B373-4151-9206-8BBD3F79AE56}" presName="hierRoot2" presStyleCnt="0">
        <dgm:presLayoutVars>
          <dgm:hierBranch val="init"/>
        </dgm:presLayoutVars>
      </dgm:prSet>
      <dgm:spPr/>
    </dgm:pt>
    <dgm:pt modelId="{7104C294-5021-48DB-8185-ACD5295DEC2E}" type="pres">
      <dgm:prSet presAssocID="{13FA9A54-B373-4151-9206-8BBD3F79AE56}" presName="rootComposite" presStyleCnt="0"/>
      <dgm:spPr/>
    </dgm:pt>
    <dgm:pt modelId="{FE570036-8A62-4AEB-99B2-E93CF120D42B}" type="pres">
      <dgm:prSet presAssocID="{13FA9A54-B373-4151-9206-8BBD3F79AE56}" presName="rootText" presStyleLbl="node4" presStyleIdx="25" presStyleCnt="2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8A03ECB-D246-4894-8B8D-369B5138B9CD}" type="pres">
      <dgm:prSet presAssocID="{13FA9A54-B373-4151-9206-8BBD3F79AE56}" presName="rootConnector" presStyleLbl="node4" presStyleIdx="25" presStyleCnt="29"/>
      <dgm:spPr/>
      <dgm:t>
        <a:bodyPr/>
        <a:lstStyle/>
        <a:p>
          <a:endParaRPr lang="en-US"/>
        </a:p>
      </dgm:t>
    </dgm:pt>
    <dgm:pt modelId="{018756C7-A2C3-4F79-80CD-287037FC082D}" type="pres">
      <dgm:prSet presAssocID="{13FA9A54-B373-4151-9206-8BBD3F79AE56}" presName="hierChild4" presStyleCnt="0"/>
      <dgm:spPr/>
    </dgm:pt>
    <dgm:pt modelId="{80AB4327-14C0-4C4D-9987-30AA1B06AFC8}" type="pres">
      <dgm:prSet presAssocID="{13FA9A54-B373-4151-9206-8BBD3F79AE56}" presName="hierChild5" presStyleCnt="0"/>
      <dgm:spPr/>
    </dgm:pt>
    <dgm:pt modelId="{406DBCB6-C65B-430B-961B-CA5647D55B29}" type="pres">
      <dgm:prSet presAssocID="{94613D70-2B88-4AD9-82F2-27BDA6E0C71A}" presName="Name37" presStyleLbl="parChTrans1D4" presStyleIdx="26" presStyleCnt="29"/>
      <dgm:spPr/>
      <dgm:t>
        <a:bodyPr/>
        <a:lstStyle/>
        <a:p>
          <a:endParaRPr lang="en-US"/>
        </a:p>
      </dgm:t>
    </dgm:pt>
    <dgm:pt modelId="{DB46429A-90FD-4D05-A4BD-27D331B918E9}" type="pres">
      <dgm:prSet presAssocID="{3068F8E5-FCAA-410C-88A7-9AE766296E8C}" presName="hierRoot2" presStyleCnt="0">
        <dgm:presLayoutVars>
          <dgm:hierBranch val="init"/>
        </dgm:presLayoutVars>
      </dgm:prSet>
      <dgm:spPr/>
    </dgm:pt>
    <dgm:pt modelId="{223BA641-DDF0-497C-A1B1-7B4F07CCD4BC}" type="pres">
      <dgm:prSet presAssocID="{3068F8E5-FCAA-410C-88A7-9AE766296E8C}" presName="rootComposite" presStyleCnt="0"/>
      <dgm:spPr/>
    </dgm:pt>
    <dgm:pt modelId="{7B3EFF73-4445-4E9F-91E4-AD1CA79E10B8}" type="pres">
      <dgm:prSet presAssocID="{3068F8E5-FCAA-410C-88A7-9AE766296E8C}" presName="rootText" presStyleLbl="node4" presStyleIdx="26" presStyleCnt="2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656F0E0-C09C-4AEE-A592-2F634F1E19A3}" type="pres">
      <dgm:prSet presAssocID="{3068F8E5-FCAA-410C-88A7-9AE766296E8C}" presName="rootConnector" presStyleLbl="node4" presStyleIdx="26" presStyleCnt="29"/>
      <dgm:spPr/>
      <dgm:t>
        <a:bodyPr/>
        <a:lstStyle/>
        <a:p>
          <a:endParaRPr lang="en-US"/>
        </a:p>
      </dgm:t>
    </dgm:pt>
    <dgm:pt modelId="{8B096A9B-1533-4C8B-81E5-9982DCF53E30}" type="pres">
      <dgm:prSet presAssocID="{3068F8E5-FCAA-410C-88A7-9AE766296E8C}" presName="hierChild4" presStyleCnt="0"/>
      <dgm:spPr/>
    </dgm:pt>
    <dgm:pt modelId="{87EBA4F7-B4C4-4EE8-B6F3-E3473423FABF}" type="pres">
      <dgm:prSet presAssocID="{3068F8E5-FCAA-410C-88A7-9AE766296E8C}" presName="hierChild5" presStyleCnt="0"/>
      <dgm:spPr/>
    </dgm:pt>
    <dgm:pt modelId="{6DCBEDD7-B051-4559-B672-B8AD84E6E2F9}" type="pres">
      <dgm:prSet presAssocID="{31504482-6EF6-4923-B2B5-41F02EA3176F}" presName="hierChild5" presStyleCnt="0"/>
      <dgm:spPr/>
    </dgm:pt>
    <dgm:pt modelId="{9E10E4E5-FC86-4B24-AE64-D55CA560CEA5}" type="pres">
      <dgm:prSet presAssocID="{69E85980-7616-41D1-A3C5-AE979E086485}" presName="hierChild5" presStyleCnt="0"/>
      <dgm:spPr/>
    </dgm:pt>
    <dgm:pt modelId="{863F05BD-CBC5-4448-A2AB-059BECBD64D1}" type="pres">
      <dgm:prSet presAssocID="{76638C63-D3C4-4C28-BAB5-4E2F6019346F}" presName="Name37" presStyleLbl="parChTrans1D3" presStyleIdx="5" presStyleCnt="14"/>
      <dgm:spPr/>
      <dgm:t>
        <a:bodyPr/>
        <a:lstStyle/>
        <a:p>
          <a:endParaRPr lang="en-US"/>
        </a:p>
      </dgm:t>
    </dgm:pt>
    <dgm:pt modelId="{9E899C73-37CE-41CB-9379-9B30085EDC9C}" type="pres">
      <dgm:prSet presAssocID="{DFAA7F3C-B3D4-4C21-8880-E6C6C4CB87B3}" presName="hierRoot2" presStyleCnt="0">
        <dgm:presLayoutVars>
          <dgm:hierBranch val="init"/>
        </dgm:presLayoutVars>
      </dgm:prSet>
      <dgm:spPr/>
    </dgm:pt>
    <dgm:pt modelId="{0F223902-8A0A-4F55-904C-707B5A69C0A4}" type="pres">
      <dgm:prSet presAssocID="{DFAA7F3C-B3D4-4C21-8880-E6C6C4CB87B3}" presName="rootComposite" presStyleCnt="0"/>
      <dgm:spPr/>
    </dgm:pt>
    <dgm:pt modelId="{488DA6D9-E6C3-40A0-B6A0-28A27EF041AC}" type="pres">
      <dgm:prSet presAssocID="{DFAA7F3C-B3D4-4C21-8880-E6C6C4CB87B3}" presName="rootText" presStyleLbl="node3" presStyleIdx="5" presStyleCnt="1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4B89880-00BC-46C0-89F4-414B073DAA56}" type="pres">
      <dgm:prSet presAssocID="{DFAA7F3C-B3D4-4C21-8880-E6C6C4CB87B3}" presName="rootConnector" presStyleLbl="node3" presStyleIdx="5" presStyleCnt="14"/>
      <dgm:spPr/>
      <dgm:t>
        <a:bodyPr/>
        <a:lstStyle/>
        <a:p>
          <a:endParaRPr lang="en-US"/>
        </a:p>
      </dgm:t>
    </dgm:pt>
    <dgm:pt modelId="{13507315-D4F3-4CAE-AC58-2786E3716798}" type="pres">
      <dgm:prSet presAssocID="{DFAA7F3C-B3D4-4C21-8880-E6C6C4CB87B3}" presName="hierChild4" presStyleCnt="0"/>
      <dgm:spPr/>
    </dgm:pt>
    <dgm:pt modelId="{1D29682E-D4D6-4896-9130-83620940DD01}" type="pres">
      <dgm:prSet presAssocID="{DFAA7F3C-B3D4-4C21-8880-E6C6C4CB87B3}" presName="hierChild5" presStyleCnt="0"/>
      <dgm:spPr/>
    </dgm:pt>
    <dgm:pt modelId="{3C36ED40-E124-4FEE-8336-4BD689E13C38}" type="pres">
      <dgm:prSet presAssocID="{AED5CB8B-B8CB-4778-8BD5-73F5B18C3B30}" presName="Name37" presStyleLbl="parChTrans1D3" presStyleIdx="6" presStyleCnt="14"/>
      <dgm:spPr/>
      <dgm:t>
        <a:bodyPr/>
        <a:lstStyle/>
        <a:p>
          <a:endParaRPr lang="en-US"/>
        </a:p>
      </dgm:t>
    </dgm:pt>
    <dgm:pt modelId="{83024A82-0EE9-40E7-8186-FD7AEBA990EC}" type="pres">
      <dgm:prSet presAssocID="{9E492584-87CF-47D0-AC51-7ABC1B0D1F60}" presName="hierRoot2" presStyleCnt="0">
        <dgm:presLayoutVars>
          <dgm:hierBranch val="init"/>
        </dgm:presLayoutVars>
      </dgm:prSet>
      <dgm:spPr/>
    </dgm:pt>
    <dgm:pt modelId="{4EF4F311-E5DF-4D20-9B1D-30D769AB2746}" type="pres">
      <dgm:prSet presAssocID="{9E492584-87CF-47D0-AC51-7ABC1B0D1F60}" presName="rootComposite" presStyleCnt="0"/>
      <dgm:spPr/>
    </dgm:pt>
    <dgm:pt modelId="{00860F35-D106-45FF-A4FB-81303854F36A}" type="pres">
      <dgm:prSet presAssocID="{9E492584-87CF-47D0-AC51-7ABC1B0D1F60}" presName="rootText" presStyleLbl="node3" presStyleIdx="6" presStyleCnt="1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A4C036F-8296-4DBD-8845-13D50EEAEAB1}" type="pres">
      <dgm:prSet presAssocID="{9E492584-87CF-47D0-AC51-7ABC1B0D1F60}" presName="rootConnector" presStyleLbl="node3" presStyleIdx="6" presStyleCnt="14"/>
      <dgm:spPr/>
      <dgm:t>
        <a:bodyPr/>
        <a:lstStyle/>
        <a:p>
          <a:endParaRPr lang="en-US"/>
        </a:p>
      </dgm:t>
    </dgm:pt>
    <dgm:pt modelId="{D2B40584-DFFC-43E5-A05C-097160D70997}" type="pres">
      <dgm:prSet presAssocID="{9E492584-87CF-47D0-AC51-7ABC1B0D1F60}" presName="hierChild4" presStyleCnt="0"/>
      <dgm:spPr/>
    </dgm:pt>
    <dgm:pt modelId="{42600A6B-0BA7-4C7D-AE7F-503751A28D84}" type="pres">
      <dgm:prSet presAssocID="{9E492584-87CF-47D0-AC51-7ABC1B0D1F60}" presName="hierChild5" presStyleCnt="0"/>
      <dgm:spPr/>
    </dgm:pt>
    <dgm:pt modelId="{63E1B64F-6459-4657-8379-1BED33DD1089}" type="pres">
      <dgm:prSet presAssocID="{37418383-A740-4C4B-A926-98506A94BD7E}" presName="Name37" presStyleLbl="parChTrans1D3" presStyleIdx="7" presStyleCnt="14"/>
      <dgm:spPr/>
      <dgm:t>
        <a:bodyPr/>
        <a:lstStyle/>
        <a:p>
          <a:endParaRPr lang="en-US"/>
        </a:p>
      </dgm:t>
    </dgm:pt>
    <dgm:pt modelId="{0443CA4C-3159-4701-BBEE-AE34A5276973}" type="pres">
      <dgm:prSet presAssocID="{5B91B124-3EDB-475C-BD87-427CBEE2FF98}" presName="hierRoot2" presStyleCnt="0">
        <dgm:presLayoutVars>
          <dgm:hierBranch val="init"/>
        </dgm:presLayoutVars>
      </dgm:prSet>
      <dgm:spPr/>
    </dgm:pt>
    <dgm:pt modelId="{BDA16D08-B9EC-44BF-9862-0B3752F66D8A}" type="pres">
      <dgm:prSet presAssocID="{5B91B124-3EDB-475C-BD87-427CBEE2FF98}" presName="rootComposite" presStyleCnt="0"/>
      <dgm:spPr/>
    </dgm:pt>
    <dgm:pt modelId="{0C6EB58B-B038-4699-AB13-FFEE57B78034}" type="pres">
      <dgm:prSet presAssocID="{5B91B124-3EDB-475C-BD87-427CBEE2FF98}" presName="rootText" presStyleLbl="node3" presStyleIdx="7" presStyleCnt="1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DFCAB16-8708-41F1-85FD-356285A07F4B}" type="pres">
      <dgm:prSet presAssocID="{5B91B124-3EDB-475C-BD87-427CBEE2FF98}" presName="rootConnector" presStyleLbl="node3" presStyleIdx="7" presStyleCnt="14"/>
      <dgm:spPr/>
      <dgm:t>
        <a:bodyPr/>
        <a:lstStyle/>
        <a:p>
          <a:endParaRPr lang="en-US"/>
        </a:p>
      </dgm:t>
    </dgm:pt>
    <dgm:pt modelId="{93154C7D-ABB3-417C-9EB5-FC4685D35EEC}" type="pres">
      <dgm:prSet presAssocID="{5B91B124-3EDB-475C-BD87-427CBEE2FF98}" presName="hierChild4" presStyleCnt="0"/>
      <dgm:spPr/>
    </dgm:pt>
    <dgm:pt modelId="{34746820-AED3-4B8D-9939-579F5175DD0B}" type="pres">
      <dgm:prSet presAssocID="{D4140428-E23E-405D-BA59-2AC81AC7A63D}" presName="Name37" presStyleLbl="parChTrans1D4" presStyleIdx="27" presStyleCnt="29"/>
      <dgm:spPr/>
      <dgm:t>
        <a:bodyPr/>
        <a:lstStyle/>
        <a:p>
          <a:endParaRPr lang="en-US"/>
        </a:p>
      </dgm:t>
    </dgm:pt>
    <dgm:pt modelId="{08566E25-CC12-49BA-A040-74B3D356457A}" type="pres">
      <dgm:prSet presAssocID="{3F799660-74D7-47FC-A345-F1BB9C30CA95}" presName="hierRoot2" presStyleCnt="0">
        <dgm:presLayoutVars>
          <dgm:hierBranch val="init"/>
        </dgm:presLayoutVars>
      </dgm:prSet>
      <dgm:spPr/>
    </dgm:pt>
    <dgm:pt modelId="{779FC70F-68FB-4A85-8A9B-9B0B7169A639}" type="pres">
      <dgm:prSet presAssocID="{3F799660-74D7-47FC-A345-F1BB9C30CA95}" presName="rootComposite" presStyleCnt="0"/>
      <dgm:spPr/>
    </dgm:pt>
    <dgm:pt modelId="{7C916EDB-4332-4149-AC17-C3C9C500D49F}" type="pres">
      <dgm:prSet presAssocID="{3F799660-74D7-47FC-A345-F1BB9C30CA95}" presName="rootText" presStyleLbl="node4" presStyleIdx="27" presStyleCnt="2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307E0A6-AA33-40B9-8C3E-8F720DC938BF}" type="pres">
      <dgm:prSet presAssocID="{3F799660-74D7-47FC-A345-F1BB9C30CA95}" presName="rootConnector" presStyleLbl="node4" presStyleIdx="27" presStyleCnt="29"/>
      <dgm:spPr/>
      <dgm:t>
        <a:bodyPr/>
        <a:lstStyle/>
        <a:p>
          <a:endParaRPr lang="en-US"/>
        </a:p>
      </dgm:t>
    </dgm:pt>
    <dgm:pt modelId="{F751003B-C919-4B79-8766-6E10009F0A20}" type="pres">
      <dgm:prSet presAssocID="{3F799660-74D7-47FC-A345-F1BB9C30CA95}" presName="hierChild4" presStyleCnt="0"/>
      <dgm:spPr/>
    </dgm:pt>
    <dgm:pt modelId="{C08B5610-493D-4A1F-BEE5-B43A8E9E6357}" type="pres">
      <dgm:prSet presAssocID="{3F799660-74D7-47FC-A345-F1BB9C30CA95}" presName="hierChild5" presStyleCnt="0"/>
      <dgm:spPr/>
    </dgm:pt>
    <dgm:pt modelId="{1A2A86F8-D710-43F6-8DED-53BC15EA3353}" type="pres">
      <dgm:prSet presAssocID="{9C9FF87D-5DA9-4490-8674-96B6D48B71B8}" presName="Name37" presStyleLbl="parChTrans1D4" presStyleIdx="28" presStyleCnt="29"/>
      <dgm:spPr/>
      <dgm:t>
        <a:bodyPr/>
        <a:lstStyle/>
        <a:p>
          <a:endParaRPr lang="en-US"/>
        </a:p>
      </dgm:t>
    </dgm:pt>
    <dgm:pt modelId="{184DA139-B670-4587-8BEF-2802AEFD3DBC}" type="pres">
      <dgm:prSet presAssocID="{9DCDFD14-FD74-48D3-9FE4-B40348DC9740}" presName="hierRoot2" presStyleCnt="0">
        <dgm:presLayoutVars>
          <dgm:hierBranch val="init"/>
        </dgm:presLayoutVars>
      </dgm:prSet>
      <dgm:spPr/>
    </dgm:pt>
    <dgm:pt modelId="{55CED961-0BC5-4E77-B072-2DCD711258C9}" type="pres">
      <dgm:prSet presAssocID="{9DCDFD14-FD74-48D3-9FE4-B40348DC9740}" presName="rootComposite" presStyleCnt="0"/>
      <dgm:spPr/>
    </dgm:pt>
    <dgm:pt modelId="{ECEB9ECE-C8B2-4500-BF69-9285F2F8B60D}" type="pres">
      <dgm:prSet presAssocID="{9DCDFD14-FD74-48D3-9FE4-B40348DC9740}" presName="rootText" presStyleLbl="node4" presStyleIdx="28" presStyleCnt="2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8732088-6569-4901-B7B2-17CD28EB3CFD}" type="pres">
      <dgm:prSet presAssocID="{9DCDFD14-FD74-48D3-9FE4-B40348DC9740}" presName="rootConnector" presStyleLbl="node4" presStyleIdx="28" presStyleCnt="29"/>
      <dgm:spPr/>
      <dgm:t>
        <a:bodyPr/>
        <a:lstStyle/>
        <a:p>
          <a:endParaRPr lang="en-US"/>
        </a:p>
      </dgm:t>
    </dgm:pt>
    <dgm:pt modelId="{9B99A176-52ED-4687-950F-6041AE8EF8B0}" type="pres">
      <dgm:prSet presAssocID="{9DCDFD14-FD74-48D3-9FE4-B40348DC9740}" presName="hierChild4" presStyleCnt="0"/>
      <dgm:spPr/>
    </dgm:pt>
    <dgm:pt modelId="{FC5F6884-388C-4198-817C-8A5DDA597EF4}" type="pres">
      <dgm:prSet presAssocID="{9DCDFD14-FD74-48D3-9FE4-B40348DC9740}" presName="hierChild5" presStyleCnt="0"/>
      <dgm:spPr/>
    </dgm:pt>
    <dgm:pt modelId="{8E6737CB-F13F-4228-8F4B-55B48D625137}" type="pres">
      <dgm:prSet presAssocID="{5B91B124-3EDB-475C-BD87-427CBEE2FF98}" presName="hierChild5" presStyleCnt="0"/>
      <dgm:spPr/>
    </dgm:pt>
    <dgm:pt modelId="{D7829969-72C2-4F69-8F14-C8D89FB89A04}" type="pres">
      <dgm:prSet presAssocID="{C9DF1206-2C13-45E9-92D4-845869EA4F11}" presName="hierChild5" presStyleCnt="0"/>
      <dgm:spPr/>
    </dgm:pt>
    <dgm:pt modelId="{DFB36E5E-BBA1-4453-9A2E-0D0FF3E3D30B}" type="pres">
      <dgm:prSet presAssocID="{7CF63899-1F8E-405E-BE5B-EA743A2FD6FD}" presName="Name37" presStyleLbl="parChTrans1D2" presStyleIdx="2" presStyleCnt="5"/>
      <dgm:spPr/>
      <dgm:t>
        <a:bodyPr/>
        <a:lstStyle/>
        <a:p>
          <a:endParaRPr lang="en-US"/>
        </a:p>
      </dgm:t>
    </dgm:pt>
    <dgm:pt modelId="{F5FCDE4E-8361-4C61-A497-95520CF3DAA8}" type="pres">
      <dgm:prSet presAssocID="{41EF5E40-B4DE-4611-9A77-93B4036804B7}" presName="hierRoot2" presStyleCnt="0">
        <dgm:presLayoutVars>
          <dgm:hierBranch val="init"/>
        </dgm:presLayoutVars>
      </dgm:prSet>
      <dgm:spPr/>
    </dgm:pt>
    <dgm:pt modelId="{67650F49-1734-4411-85EC-D53C3779980D}" type="pres">
      <dgm:prSet presAssocID="{41EF5E40-B4DE-4611-9A77-93B4036804B7}" presName="rootComposite" presStyleCnt="0"/>
      <dgm:spPr/>
    </dgm:pt>
    <dgm:pt modelId="{64B1788A-2800-4E52-B4CC-251E5B268638}" type="pres">
      <dgm:prSet presAssocID="{41EF5E40-B4DE-4611-9A77-93B4036804B7}" presName="rootText" presStyleLbl="node2" presStyleIdx="2" presStyleCnt="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4EA5339-5D1F-4AEF-8DDA-A75CBA748561}" type="pres">
      <dgm:prSet presAssocID="{41EF5E40-B4DE-4611-9A77-93B4036804B7}" presName="rootConnector" presStyleLbl="node2" presStyleIdx="2" presStyleCnt="5"/>
      <dgm:spPr/>
      <dgm:t>
        <a:bodyPr/>
        <a:lstStyle/>
        <a:p>
          <a:endParaRPr lang="en-US"/>
        </a:p>
      </dgm:t>
    </dgm:pt>
    <dgm:pt modelId="{8D1223F5-8725-41D6-B120-5E9F6BCF1345}" type="pres">
      <dgm:prSet presAssocID="{41EF5E40-B4DE-4611-9A77-93B4036804B7}" presName="hierChild4" presStyleCnt="0"/>
      <dgm:spPr/>
    </dgm:pt>
    <dgm:pt modelId="{42FAFE9D-AD86-424F-91C4-D98FC5538C31}" type="pres">
      <dgm:prSet presAssocID="{41EF5E40-B4DE-4611-9A77-93B4036804B7}" presName="hierChild5" presStyleCnt="0"/>
      <dgm:spPr/>
    </dgm:pt>
    <dgm:pt modelId="{779BD986-0758-4BEF-A3D3-AB7B6F6B6346}" type="pres">
      <dgm:prSet presAssocID="{E7304D63-F1F7-4332-A325-CF0B2BA37C93}" presName="Name37" presStyleLbl="parChTrans1D2" presStyleIdx="3" presStyleCnt="5"/>
      <dgm:spPr/>
      <dgm:t>
        <a:bodyPr/>
        <a:lstStyle/>
        <a:p>
          <a:endParaRPr lang="en-US"/>
        </a:p>
      </dgm:t>
    </dgm:pt>
    <dgm:pt modelId="{BE3CA472-B0A9-48B0-B687-E856631B1C28}" type="pres">
      <dgm:prSet presAssocID="{8960A1BE-2172-40A2-9660-5EEA44EE629B}" presName="hierRoot2" presStyleCnt="0">
        <dgm:presLayoutVars>
          <dgm:hierBranch val="init"/>
        </dgm:presLayoutVars>
      </dgm:prSet>
      <dgm:spPr/>
    </dgm:pt>
    <dgm:pt modelId="{68F83DF0-DEDD-481A-AA61-0D1ACC455D17}" type="pres">
      <dgm:prSet presAssocID="{8960A1BE-2172-40A2-9660-5EEA44EE629B}" presName="rootComposite" presStyleCnt="0"/>
      <dgm:spPr/>
    </dgm:pt>
    <dgm:pt modelId="{B98263AC-9709-4990-896A-3AAEACA1FA3B}" type="pres">
      <dgm:prSet presAssocID="{8960A1BE-2172-40A2-9660-5EEA44EE629B}" presName="rootText" presStyleLbl="node2" presStyleIdx="3" presStyleCnt="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348D6E8-9ABB-491F-B944-949E09C467A7}" type="pres">
      <dgm:prSet presAssocID="{8960A1BE-2172-40A2-9660-5EEA44EE629B}" presName="rootConnector" presStyleLbl="node2" presStyleIdx="3" presStyleCnt="5"/>
      <dgm:spPr/>
      <dgm:t>
        <a:bodyPr/>
        <a:lstStyle/>
        <a:p>
          <a:endParaRPr lang="en-US"/>
        </a:p>
      </dgm:t>
    </dgm:pt>
    <dgm:pt modelId="{FB4579E9-3FCA-47D6-BB03-05E21DDA5A12}" type="pres">
      <dgm:prSet presAssocID="{8960A1BE-2172-40A2-9660-5EEA44EE629B}" presName="hierChild4" presStyleCnt="0"/>
      <dgm:spPr/>
    </dgm:pt>
    <dgm:pt modelId="{9981BDD9-5B61-4D8C-BC03-57FAB22AF4D2}" type="pres">
      <dgm:prSet presAssocID="{D3F8F215-B090-4C4B-8953-C389691940C4}" presName="Name37" presStyleLbl="parChTrans1D3" presStyleIdx="8" presStyleCnt="14"/>
      <dgm:spPr/>
      <dgm:t>
        <a:bodyPr/>
        <a:lstStyle/>
        <a:p>
          <a:endParaRPr lang="en-US"/>
        </a:p>
      </dgm:t>
    </dgm:pt>
    <dgm:pt modelId="{24A7E6D5-7284-42C3-8423-5F3A14D77F01}" type="pres">
      <dgm:prSet presAssocID="{68BAB508-D1AF-4EF8-89F5-7C722B5A8640}" presName="hierRoot2" presStyleCnt="0">
        <dgm:presLayoutVars>
          <dgm:hierBranch val="init"/>
        </dgm:presLayoutVars>
      </dgm:prSet>
      <dgm:spPr/>
    </dgm:pt>
    <dgm:pt modelId="{DE235788-2D65-46EC-92BD-FCC5943BD484}" type="pres">
      <dgm:prSet presAssocID="{68BAB508-D1AF-4EF8-89F5-7C722B5A8640}" presName="rootComposite" presStyleCnt="0"/>
      <dgm:spPr/>
    </dgm:pt>
    <dgm:pt modelId="{70594EC9-F986-494D-ADE6-E61F69D4FDD0}" type="pres">
      <dgm:prSet presAssocID="{68BAB508-D1AF-4EF8-89F5-7C722B5A8640}" presName="rootText" presStyleLbl="node3" presStyleIdx="8" presStyleCnt="1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5B49664-1DE8-43D9-BA93-B346F847CF17}" type="pres">
      <dgm:prSet presAssocID="{68BAB508-D1AF-4EF8-89F5-7C722B5A8640}" presName="rootConnector" presStyleLbl="node3" presStyleIdx="8" presStyleCnt="14"/>
      <dgm:spPr/>
      <dgm:t>
        <a:bodyPr/>
        <a:lstStyle/>
        <a:p>
          <a:endParaRPr lang="en-US"/>
        </a:p>
      </dgm:t>
    </dgm:pt>
    <dgm:pt modelId="{7ACA08FA-BDB8-4F09-93B1-9B12EE3E0160}" type="pres">
      <dgm:prSet presAssocID="{68BAB508-D1AF-4EF8-89F5-7C722B5A8640}" presName="hierChild4" presStyleCnt="0"/>
      <dgm:spPr/>
    </dgm:pt>
    <dgm:pt modelId="{7816F6FF-9B3C-429B-A64C-6923AECC5C23}" type="pres">
      <dgm:prSet presAssocID="{68BAB508-D1AF-4EF8-89F5-7C722B5A8640}" presName="hierChild5" presStyleCnt="0"/>
      <dgm:spPr/>
    </dgm:pt>
    <dgm:pt modelId="{56CA0D62-2077-4404-8EBD-E967E4D80D32}" type="pres">
      <dgm:prSet presAssocID="{319E5FD1-84FC-47DF-8CEF-1AA46A92A777}" presName="Name37" presStyleLbl="parChTrans1D3" presStyleIdx="9" presStyleCnt="14"/>
      <dgm:spPr/>
      <dgm:t>
        <a:bodyPr/>
        <a:lstStyle/>
        <a:p>
          <a:endParaRPr lang="en-US"/>
        </a:p>
      </dgm:t>
    </dgm:pt>
    <dgm:pt modelId="{7B6AC654-3CBA-4FE3-B120-EE39157DD096}" type="pres">
      <dgm:prSet presAssocID="{A4BC3542-6708-4B7A-A5E7-9D07F79CE753}" presName="hierRoot2" presStyleCnt="0">
        <dgm:presLayoutVars>
          <dgm:hierBranch val="init"/>
        </dgm:presLayoutVars>
      </dgm:prSet>
      <dgm:spPr/>
    </dgm:pt>
    <dgm:pt modelId="{2D060E53-4E15-47DA-B3C7-C023260D44D9}" type="pres">
      <dgm:prSet presAssocID="{A4BC3542-6708-4B7A-A5E7-9D07F79CE753}" presName="rootComposite" presStyleCnt="0"/>
      <dgm:spPr/>
    </dgm:pt>
    <dgm:pt modelId="{6AF774BF-8E84-45A0-8655-A0F2F3D66D3F}" type="pres">
      <dgm:prSet presAssocID="{A4BC3542-6708-4B7A-A5E7-9D07F79CE753}" presName="rootText" presStyleLbl="node3" presStyleIdx="9" presStyleCnt="1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7908B68-CDB3-4940-B51F-FF422CC2566E}" type="pres">
      <dgm:prSet presAssocID="{A4BC3542-6708-4B7A-A5E7-9D07F79CE753}" presName="rootConnector" presStyleLbl="node3" presStyleIdx="9" presStyleCnt="14"/>
      <dgm:spPr/>
      <dgm:t>
        <a:bodyPr/>
        <a:lstStyle/>
        <a:p>
          <a:endParaRPr lang="en-US"/>
        </a:p>
      </dgm:t>
    </dgm:pt>
    <dgm:pt modelId="{C1B6F609-0109-4D2F-A1BF-7C86E9F8D18E}" type="pres">
      <dgm:prSet presAssocID="{A4BC3542-6708-4B7A-A5E7-9D07F79CE753}" presName="hierChild4" presStyleCnt="0"/>
      <dgm:spPr/>
    </dgm:pt>
    <dgm:pt modelId="{394124AB-7CCD-4133-B6E5-DA80C023EB37}" type="pres">
      <dgm:prSet presAssocID="{A4BC3542-6708-4B7A-A5E7-9D07F79CE753}" presName="hierChild5" presStyleCnt="0"/>
      <dgm:spPr/>
    </dgm:pt>
    <dgm:pt modelId="{7C0871BC-91F7-4004-942B-913E7593B30D}" type="pres">
      <dgm:prSet presAssocID="{6B991C2C-C0FE-4348-9745-6D089550655E}" presName="Name37" presStyleLbl="parChTrans1D3" presStyleIdx="10" presStyleCnt="14"/>
      <dgm:spPr/>
      <dgm:t>
        <a:bodyPr/>
        <a:lstStyle/>
        <a:p>
          <a:endParaRPr lang="en-US"/>
        </a:p>
      </dgm:t>
    </dgm:pt>
    <dgm:pt modelId="{E2583D22-852F-43B6-974C-C53B4AE6552D}" type="pres">
      <dgm:prSet presAssocID="{68F80057-DEAC-4C02-AE1A-0215C151A172}" presName="hierRoot2" presStyleCnt="0">
        <dgm:presLayoutVars>
          <dgm:hierBranch val="init"/>
        </dgm:presLayoutVars>
      </dgm:prSet>
      <dgm:spPr/>
    </dgm:pt>
    <dgm:pt modelId="{4C22B07C-134E-4E49-A91A-C4347D09444A}" type="pres">
      <dgm:prSet presAssocID="{68F80057-DEAC-4C02-AE1A-0215C151A172}" presName="rootComposite" presStyleCnt="0"/>
      <dgm:spPr/>
    </dgm:pt>
    <dgm:pt modelId="{262E21F6-0749-4341-B130-E432811FD604}" type="pres">
      <dgm:prSet presAssocID="{68F80057-DEAC-4C02-AE1A-0215C151A172}" presName="rootText" presStyleLbl="node3" presStyleIdx="10" presStyleCnt="1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A59D648-B65C-4A4D-B56D-86288F1452B3}" type="pres">
      <dgm:prSet presAssocID="{68F80057-DEAC-4C02-AE1A-0215C151A172}" presName="rootConnector" presStyleLbl="node3" presStyleIdx="10" presStyleCnt="14"/>
      <dgm:spPr/>
      <dgm:t>
        <a:bodyPr/>
        <a:lstStyle/>
        <a:p>
          <a:endParaRPr lang="en-US"/>
        </a:p>
      </dgm:t>
    </dgm:pt>
    <dgm:pt modelId="{9B6D3252-4E87-4E97-9321-1D9DBDF484B4}" type="pres">
      <dgm:prSet presAssocID="{68F80057-DEAC-4C02-AE1A-0215C151A172}" presName="hierChild4" presStyleCnt="0"/>
      <dgm:spPr/>
    </dgm:pt>
    <dgm:pt modelId="{EAB5F180-25A9-4DC8-8C01-1317321EA626}" type="pres">
      <dgm:prSet presAssocID="{68F80057-DEAC-4C02-AE1A-0215C151A172}" presName="hierChild5" presStyleCnt="0"/>
      <dgm:spPr/>
    </dgm:pt>
    <dgm:pt modelId="{F3D394A0-E10E-4634-9BE5-C6B2C50B8221}" type="pres">
      <dgm:prSet presAssocID="{279E7FA2-E087-4B0F-BAA7-CC72112B84A7}" presName="Name37" presStyleLbl="parChTrans1D3" presStyleIdx="11" presStyleCnt="14"/>
      <dgm:spPr/>
      <dgm:t>
        <a:bodyPr/>
        <a:lstStyle/>
        <a:p>
          <a:endParaRPr lang="en-US"/>
        </a:p>
      </dgm:t>
    </dgm:pt>
    <dgm:pt modelId="{7B35DD84-3DC7-45AA-BA58-2236348AC82D}" type="pres">
      <dgm:prSet presAssocID="{254DA9DE-FD56-4B80-98E4-A5D3B68E885B}" presName="hierRoot2" presStyleCnt="0">
        <dgm:presLayoutVars>
          <dgm:hierBranch val="init"/>
        </dgm:presLayoutVars>
      </dgm:prSet>
      <dgm:spPr/>
    </dgm:pt>
    <dgm:pt modelId="{1FF97D24-B33A-4969-B881-35DEEA7E253C}" type="pres">
      <dgm:prSet presAssocID="{254DA9DE-FD56-4B80-98E4-A5D3B68E885B}" presName="rootComposite" presStyleCnt="0"/>
      <dgm:spPr/>
    </dgm:pt>
    <dgm:pt modelId="{F18CCF2D-F56B-4D1A-95EA-30A367D1EC9F}" type="pres">
      <dgm:prSet presAssocID="{254DA9DE-FD56-4B80-98E4-A5D3B68E885B}" presName="rootText" presStyleLbl="node3" presStyleIdx="11" presStyleCnt="1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FCA7BCF-DEED-450B-82C5-942D5A54581C}" type="pres">
      <dgm:prSet presAssocID="{254DA9DE-FD56-4B80-98E4-A5D3B68E885B}" presName="rootConnector" presStyleLbl="node3" presStyleIdx="11" presStyleCnt="14"/>
      <dgm:spPr/>
      <dgm:t>
        <a:bodyPr/>
        <a:lstStyle/>
        <a:p>
          <a:endParaRPr lang="en-US"/>
        </a:p>
      </dgm:t>
    </dgm:pt>
    <dgm:pt modelId="{F3AF32B7-1EF3-4936-AB0F-DB3F47CF44FA}" type="pres">
      <dgm:prSet presAssocID="{254DA9DE-FD56-4B80-98E4-A5D3B68E885B}" presName="hierChild4" presStyleCnt="0"/>
      <dgm:spPr/>
    </dgm:pt>
    <dgm:pt modelId="{05F48F9B-1232-4FC5-B600-F997B672CE1D}" type="pres">
      <dgm:prSet presAssocID="{254DA9DE-FD56-4B80-98E4-A5D3B68E885B}" presName="hierChild5" presStyleCnt="0"/>
      <dgm:spPr/>
    </dgm:pt>
    <dgm:pt modelId="{72563BEF-C03A-4B18-8E1F-DDF1D3177705}" type="pres">
      <dgm:prSet presAssocID="{07C03D6E-8E54-4D7E-86C3-FD55FAF905C1}" presName="Name37" presStyleLbl="parChTrans1D3" presStyleIdx="12" presStyleCnt="14"/>
      <dgm:spPr/>
      <dgm:t>
        <a:bodyPr/>
        <a:lstStyle/>
        <a:p>
          <a:endParaRPr lang="en-US"/>
        </a:p>
      </dgm:t>
    </dgm:pt>
    <dgm:pt modelId="{29E8BD49-7E8F-4F90-8A13-E3AF9EC0E365}" type="pres">
      <dgm:prSet presAssocID="{87A0796A-2009-4411-9D29-83BEA9810E93}" presName="hierRoot2" presStyleCnt="0">
        <dgm:presLayoutVars>
          <dgm:hierBranch val="init"/>
        </dgm:presLayoutVars>
      </dgm:prSet>
      <dgm:spPr/>
    </dgm:pt>
    <dgm:pt modelId="{A6232C43-20FE-48E9-A688-9A727D3C2DCD}" type="pres">
      <dgm:prSet presAssocID="{87A0796A-2009-4411-9D29-83BEA9810E93}" presName="rootComposite" presStyleCnt="0"/>
      <dgm:spPr/>
    </dgm:pt>
    <dgm:pt modelId="{B28B2226-FC5E-43A3-9CE3-5D04B7AC84C4}" type="pres">
      <dgm:prSet presAssocID="{87A0796A-2009-4411-9D29-83BEA9810E93}" presName="rootText" presStyleLbl="node3" presStyleIdx="12" presStyleCnt="1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D4ABC46-073B-442A-815C-4DD51238D694}" type="pres">
      <dgm:prSet presAssocID="{87A0796A-2009-4411-9D29-83BEA9810E93}" presName="rootConnector" presStyleLbl="node3" presStyleIdx="12" presStyleCnt="14"/>
      <dgm:spPr/>
      <dgm:t>
        <a:bodyPr/>
        <a:lstStyle/>
        <a:p>
          <a:endParaRPr lang="en-US"/>
        </a:p>
      </dgm:t>
    </dgm:pt>
    <dgm:pt modelId="{BE4DE79D-F243-421D-B4E4-F60DE7BAB5B1}" type="pres">
      <dgm:prSet presAssocID="{87A0796A-2009-4411-9D29-83BEA9810E93}" presName="hierChild4" presStyleCnt="0"/>
      <dgm:spPr/>
    </dgm:pt>
    <dgm:pt modelId="{1E5A3905-BC1E-4DF1-88B4-FF8319ECFA3A}" type="pres">
      <dgm:prSet presAssocID="{87A0796A-2009-4411-9D29-83BEA9810E93}" presName="hierChild5" presStyleCnt="0"/>
      <dgm:spPr/>
    </dgm:pt>
    <dgm:pt modelId="{8570632C-E482-4D89-80E7-9CA542E4A966}" type="pres">
      <dgm:prSet presAssocID="{1BDAF70C-1665-4E89-BBDD-F30E0A7E6491}" presName="Name37" presStyleLbl="parChTrans1D3" presStyleIdx="13" presStyleCnt="14"/>
      <dgm:spPr/>
      <dgm:t>
        <a:bodyPr/>
        <a:lstStyle/>
        <a:p>
          <a:endParaRPr lang="en-US"/>
        </a:p>
      </dgm:t>
    </dgm:pt>
    <dgm:pt modelId="{0D80E68F-3C0A-4405-82FF-CD851B7DF987}" type="pres">
      <dgm:prSet presAssocID="{CEA4C3C4-026F-41B9-B4BF-ED1C1C9CE7D8}" presName="hierRoot2" presStyleCnt="0">
        <dgm:presLayoutVars>
          <dgm:hierBranch val="init"/>
        </dgm:presLayoutVars>
      </dgm:prSet>
      <dgm:spPr/>
    </dgm:pt>
    <dgm:pt modelId="{59821EF3-77F5-4603-AF53-51E7CF3B59B8}" type="pres">
      <dgm:prSet presAssocID="{CEA4C3C4-026F-41B9-B4BF-ED1C1C9CE7D8}" presName="rootComposite" presStyleCnt="0"/>
      <dgm:spPr/>
    </dgm:pt>
    <dgm:pt modelId="{D1D21F78-21FA-4F79-8198-49AF02F8DDC4}" type="pres">
      <dgm:prSet presAssocID="{CEA4C3C4-026F-41B9-B4BF-ED1C1C9CE7D8}" presName="rootText" presStyleLbl="node3" presStyleIdx="13" presStyleCnt="1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9F7E52F-EC42-43C6-9BC7-5FADF1E36BC9}" type="pres">
      <dgm:prSet presAssocID="{CEA4C3C4-026F-41B9-B4BF-ED1C1C9CE7D8}" presName="rootConnector" presStyleLbl="node3" presStyleIdx="13" presStyleCnt="14"/>
      <dgm:spPr/>
      <dgm:t>
        <a:bodyPr/>
        <a:lstStyle/>
        <a:p>
          <a:endParaRPr lang="en-US"/>
        </a:p>
      </dgm:t>
    </dgm:pt>
    <dgm:pt modelId="{BAB4BC9E-27BE-4509-A96B-132389003C54}" type="pres">
      <dgm:prSet presAssocID="{CEA4C3C4-026F-41B9-B4BF-ED1C1C9CE7D8}" presName="hierChild4" presStyleCnt="0"/>
      <dgm:spPr/>
    </dgm:pt>
    <dgm:pt modelId="{586239C0-55A6-4EE6-AA0F-B002645ADC27}" type="pres">
      <dgm:prSet presAssocID="{CEA4C3C4-026F-41B9-B4BF-ED1C1C9CE7D8}" presName="hierChild5" presStyleCnt="0"/>
      <dgm:spPr/>
    </dgm:pt>
    <dgm:pt modelId="{819A8476-EC66-4E98-8F19-EBDEA05B2E5F}" type="pres">
      <dgm:prSet presAssocID="{8960A1BE-2172-40A2-9660-5EEA44EE629B}" presName="hierChild5" presStyleCnt="0"/>
      <dgm:spPr/>
    </dgm:pt>
    <dgm:pt modelId="{EB3610F2-02A8-47AC-B8CE-1BA8DF49FB6A}" type="pres">
      <dgm:prSet presAssocID="{4B1FA76D-2738-4D54-8CD0-29ED3A58890D}" presName="Name37" presStyleLbl="parChTrans1D2" presStyleIdx="4" presStyleCnt="5"/>
      <dgm:spPr/>
      <dgm:t>
        <a:bodyPr/>
        <a:lstStyle/>
        <a:p>
          <a:endParaRPr lang="en-US"/>
        </a:p>
      </dgm:t>
    </dgm:pt>
    <dgm:pt modelId="{068AB56F-707B-4625-81A2-091FB83DB3F2}" type="pres">
      <dgm:prSet presAssocID="{F4AA74D6-445A-473C-8EED-0D4C03CF89D8}" presName="hierRoot2" presStyleCnt="0">
        <dgm:presLayoutVars>
          <dgm:hierBranch val="init"/>
        </dgm:presLayoutVars>
      </dgm:prSet>
      <dgm:spPr/>
    </dgm:pt>
    <dgm:pt modelId="{EF896BF9-AC8A-4D24-962B-E31730667EEC}" type="pres">
      <dgm:prSet presAssocID="{F4AA74D6-445A-473C-8EED-0D4C03CF89D8}" presName="rootComposite" presStyleCnt="0"/>
      <dgm:spPr/>
    </dgm:pt>
    <dgm:pt modelId="{3D55EECB-84AF-416E-BBDD-B721E755EA9B}" type="pres">
      <dgm:prSet presAssocID="{F4AA74D6-445A-473C-8EED-0D4C03CF89D8}" presName="rootText" presStyleLbl="node2" presStyleIdx="4" presStyleCnt="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7C9952F-D4DC-4810-BBA9-E23100F3DE37}" type="pres">
      <dgm:prSet presAssocID="{F4AA74D6-445A-473C-8EED-0D4C03CF89D8}" presName="rootConnector" presStyleLbl="node2" presStyleIdx="4" presStyleCnt="5"/>
      <dgm:spPr/>
      <dgm:t>
        <a:bodyPr/>
        <a:lstStyle/>
        <a:p>
          <a:endParaRPr lang="en-US"/>
        </a:p>
      </dgm:t>
    </dgm:pt>
    <dgm:pt modelId="{40F2EE1D-6B5D-42DA-85CE-951D5C6555BD}" type="pres">
      <dgm:prSet presAssocID="{F4AA74D6-445A-473C-8EED-0D4C03CF89D8}" presName="hierChild4" presStyleCnt="0"/>
      <dgm:spPr/>
    </dgm:pt>
    <dgm:pt modelId="{E283512D-29EC-478D-8BDF-3A5B8C02D898}" type="pres">
      <dgm:prSet presAssocID="{F4AA74D6-445A-473C-8EED-0D4C03CF89D8}" presName="hierChild5" presStyleCnt="0"/>
      <dgm:spPr/>
    </dgm:pt>
    <dgm:pt modelId="{19492B7F-9E0F-4A61-9553-280A5642A918}" type="pres">
      <dgm:prSet presAssocID="{91A5C726-4DA1-41FD-928E-5252C3531386}" presName="hierChild3" presStyleCnt="0"/>
      <dgm:spPr/>
    </dgm:pt>
  </dgm:ptLst>
  <dgm:cxnLst>
    <dgm:cxn modelId="{81A8F6ED-5BB1-426E-9B22-491F0AC7C93C}" type="presOf" srcId="{DFAA7F3C-B3D4-4C21-8880-E6C6C4CB87B3}" destId="{C4B89880-00BC-46C0-89F4-414B073DAA56}" srcOrd="1" destOrd="0" presId="urn:microsoft.com/office/officeart/2005/8/layout/orgChart1"/>
    <dgm:cxn modelId="{A1F7DCA2-B619-4177-A8D8-528B6EE141F5}" srcId="{91A5C726-4DA1-41FD-928E-5252C3531386}" destId="{C9DF1206-2C13-45E9-92D4-845869EA4F11}" srcOrd="1" destOrd="0" parTransId="{E420EF71-19F8-448A-9C42-1F5BF9924A53}" sibTransId="{085F174D-5F8F-4C0E-A73B-8530FBF3F32A}"/>
    <dgm:cxn modelId="{8A9EA984-0F33-4A83-81E7-900B47820A89}" type="presOf" srcId="{DFB03001-3E82-45A7-9099-08B55BEF9705}" destId="{7F422EAB-51A6-412C-B197-1D6E7B156711}" srcOrd="1" destOrd="0" presId="urn:microsoft.com/office/officeart/2005/8/layout/orgChart1"/>
    <dgm:cxn modelId="{B53F0522-54DC-4DAF-BBB6-4616D1F97396}" srcId="{31504482-6EF6-4923-B2B5-41F02EA3176F}" destId="{44D9A562-B06B-4B38-ADAF-4E9CDBF6E28B}" srcOrd="0" destOrd="0" parTransId="{E8FBC739-CED9-446D-B14F-4B2B279C1260}" sibTransId="{B534EB5D-F87A-4255-A7ED-F96897E65F89}"/>
    <dgm:cxn modelId="{B3F4BBC8-A2CE-4381-83BC-683C6B7BC1B4}" type="presOf" srcId="{D2DB2E3D-602B-4893-A2D9-57860639AEB7}" destId="{9CC6899B-CA1B-42D3-B1BB-2B382C799E3B}" srcOrd="0" destOrd="0" presId="urn:microsoft.com/office/officeart/2005/8/layout/orgChart1"/>
    <dgm:cxn modelId="{D689AB54-D899-4785-9EB1-823160E083BB}" type="presOf" srcId="{45ED52AD-6436-4E01-A064-7B44546AF22A}" destId="{02714CEB-6C55-42B2-AB86-92AEEF96FCB6}" srcOrd="0" destOrd="0" presId="urn:microsoft.com/office/officeart/2005/8/layout/orgChart1"/>
    <dgm:cxn modelId="{74588F17-CC16-43AD-9CE1-46D83501CCA5}" type="presOf" srcId="{6B991C2C-C0FE-4348-9745-6D089550655E}" destId="{7C0871BC-91F7-4004-942B-913E7593B30D}" srcOrd="0" destOrd="0" presId="urn:microsoft.com/office/officeart/2005/8/layout/orgChart1"/>
    <dgm:cxn modelId="{9C2242D2-8FA9-4A75-AA2D-0517AFF44827}" type="presOf" srcId="{E12020A9-E5A6-4332-9BE2-01D1FD812EFA}" destId="{06E5FD87-839F-4836-9FC2-5EA10B307275}" srcOrd="0" destOrd="0" presId="urn:microsoft.com/office/officeart/2005/8/layout/orgChart1"/>
    <dgm:cxn modelId="{BB5065B5-BB6F-4B70-B74B-9B1CCA41CD40}" srcId="{69E85980-7616-41D1-A3C5-AE979E086485}" destId="{31504482-6EF6-4923-B2B5-41F02EA3176F}" srcOrd="0" destOrd="0" parTransId="{B48DD13F-85DB-4D65-AE78-9E0FC2793AAC}" sibTransId="{563FECC0-0853-4893-97D5-0876965352FC}"/>
    <dgm:cxn modelId="{2D5BF649-7FF8-47F1-A82D-A82CF53F4494}" type="presOf" srcId="{85DDF844-FF29-486D-8205-47C256C5AE38}" destId="{E3F89AD4-5025-4692-A51C-4B2F34F84129}" srcOrd="0" destOrd="0" presId="urn:microsoft.com/office/officeart/2005/8/layout/orgChart1"/>
    <dgm:cxn modelId="{FA981CB6-FC39-4739-A426-474B52A9AA57}" type="presOf" srcId="{F2A04CE1-010E-40D3-9764-4F32979EB251}" destId="{89A327D0-9216-4432-B846-CF92D8421306}" srcOrd="0" destOrd="0" presId="urn:microsoft.com/office/officeart/2005/8/layout/orgChart1"/>
    <dgm:cxn modelId="{C085F8F9-F0CA-477C-9210-EEF4D582EF21}" type="presOf" srcId="{A128DEFB-08B6-48F7-B05E-9EABA1A44A35}" destId="{9DBA31F1-DD18-4E52-8E98-E5899FE39603}" srcOrd="0" destOrd="0" presId="urn:microsoft.com/office/officeart/2005/8/layout/orgChart1"/>
    <dgm:cxn modelId="{5BF4DB72-76FD-4C24-9500-7F2C6DD9018E}" type="presOf" srcId="{DFAA7F3C-B3D4-4C21-8880-E6C6C4CB87B3}" destId="{488DA6D9-E6C3-40A0-B6A0-28A27EF041AC}" srcOrd="0" destOrd="0" presId="urn:microsoft.com/office/officeart/2005/8/layout/orgChart1"/>
    <dgm:cxn modelId="{6B912283-D019-45C8-BC8F-3DFF93406CE9}" type="presOf" srcId="{4B1FA76D-2738-4D54-8CD0-29ED3A58890D}" destId="{EB3610F2-02A8-47AC-B8CE-1BA8DF49FB6A}" srcOrd="0" destOrd="0" presId="urn:microsoft.com/office/officeart/2005/8/layout/orgChart1"/>
    <dgm:cxn modelId="{28203E04-B08E-4DFF-8924-A2ED59D6ECE0}" type="presOf" srcId="{F04B21D9-C7BB-4EF5-9EFE-0940BF6DF841}" destId="{7B7554D5-D2B5-446E-B8DD-82A310A01892}" srcOrd="1" destOrd="0" presId="urn:microsoft.com/office/officeart/2005/8/layout/orgChart1"/>
    <dgm:cxn modelId="{AAACEBDD-201C-4CF0-9617-5F501FBB17C7}" type="presOf" srcId="{2CDFA5D8-E48C-4910-ADFB-6308A82EF005}" destId="{B9E15E61-AEBE-4620-80EF-16BA6C1CCC44}" srcOrd="0" destOrd="0" presId="urn:microsoft.com/office/officeart/2005/8/layout/orgChart1"/>
    <dgm:cxn modelId="{96A6D6A6-360F-4267-A65F-28B16F60522F}" type="presOf" srcId="{87A0796A-2009-4411-9D29-83BEA9810E93}" destId="{B28B2226-FC5E-43A3-9CE3-5D04B7AC84C4}" srcOrd="0" destOrd="0" presId="urn:microsoft.com/office/officeart/2005/8/layout/orgChart1"/>
    <dgm:cxn modelId="{CDBF90D2-C3D8-4F59-B070-C198CA27355A}" srcId="{91A5C726-4DA1-41FD-928E-5252C3531386}" destId="{90B3C68B-2AA6-4159-A0AA-FFBD652962B2}" srcOrd="0" destOrd="0" parTransId="{71DDC489-CE35-4568-9520-E658C0DF1ABF}" sibTransId="{5F9BB0B2-B89E-4376-8A40-579F09F3173F}"/>
    <dgm:cxn modelId="{93A33716-5B32-46EF-A872-1F559EC0B519}" type="presOf" srcId="{D3F8F215-B090-4C4B-8953-C389691940C4}" destId="{9981BDD9-5B61-4D8C-BC03-57FAB22AF4D2}" srcOrd="0" destOrd="0" presId="urn:microsoft.com/office/officeart/2005/8/layout/orgChart1"/>
    <dgm:cxn modelId="{BB64E99B-A723-455F-AC6E-A6091850966D}" srcId="{DFB03001-3E82-45A7-9099-08B55BEF9705}" destId="{D2DB2E3D-602B-4893-A2D9-57860639AEB7}" srcOrd="0" destOrd="0" parTransId="{E4B105B5-E3FD-43B5-8B36-8A615E256692}" sibTransId="{8D5B6A26-E2D7-4179-8887-BFABA081C7EB}"/>
    <dgm:cxn modelId="{D842068C-5FA7-4F41-84A2-25484638BC69}" srcId="{90B3C68B-2AA6-4159-A0AA-FFBD652962B2}" destId="{760A34FC-D186-4C3F-9A9D-5328B04D3677}" srcOrd="0" destOrd="0" parTransId="{45ED52AD-6436-4E01-A064-7B44546AF22A}" sibTransId="{76223F45-23CE-493B-AEF1-42F975A819B3}"/>
    <dgm:cxn modelId="{DD886835-6948-4F14-8D2D-C1501E56CC35}" type="presOf" srcId="{3068F8E5-FCAA-410C-88A7-9AE766296E8C}" destId="{9656F0E0-C09C-4AEE-A592-2F634F1E19A3}" srcOrd="1" destOrd="0" presId="urn:microsoft.com/office/officeart/2005/8/layout/orgChart1"/>
    <dgm:cxn modelId="{1FDE000F-5BAD-4BC2-B37E-2CB4743D980E}" type="presOf" srcId="{5B91B124-3EDB-475C-BD87-427CBEE2FF98}" destId="{5DFCAB16-8708-41F1-85FD-356285A07F4B}" srcOrd="1" destOrd="0" presId="urn:microsoft.com/office/officeart/2005/8/layout/orgChart1"/>
    <dgm:cxn modelId="{B7561515-B58C-4260-9C18-31E1A65B58E0}" srcId="{B4C6B8A1-6B42-4393-AD33-DBE81AAAE9EC}" destId="{B0673CA1-0787-4663-ABDD-63A97B531C63}" srcOrd="0" destOrd="0" parTransId="{6CC360CB-D18A-4B99-9C3D-EDB6BC29A253}" sibTransId="{F6E9C073-8675-4AC4-AAAC-75D295CB97C3}"/>
    <dgm:cxn modelId="{92C367BF-1801-4059-9B55-19FEA6080CAC}" srcId="{C3E9A307-CC60-40FC-8B1F-5308BDFC4D45}" destId="{9BDE54EE-3945-4852-A375-00796B68EA21}" srcOrd="4" destOrd="0" parTransId="{B7D4E461-616E-4038-9C04-46DB1AE02EB6}" sibTransId="{524159A0-85D7-437C-AFF3-543E2EE62A6E}"/>
    <dgm:cxn modelId="{1432ECD5-58B3-4293-8D71-602E5C3C32CF}" type="presOf" srcId="{76638C63-D3C4-4C28-BAB5-4E2F6019346F}" destId="{863F05BD-CBC5-4448-A2AB-059BECBD64D1}" srcOrd="0" destOrd="0" presId="urn:microsoft.com/office/officeart/2005/8/layout/orgChart1"/>
    <dgm:cxn modelId="{7434BAB5-1E2D-4C7E-AA98-EAE7A646C65C}" type="presOf" srcId="{56680C78-835D-4053-ABBB-855DFDCCDE19}" destId="{31F6AC45-64D6-4275-8791-3BFA7885EFA4}" srcOrd="0" destOrd="0" presId="urn:microsoft.com/office/officeart/2005/8/layout/orgChart1"/>
    <dgm:cxn modelId="{145F9D98-0AA5-4151-BEA1-930187C49216}" srcId="{DFB03001-3E82-45A7-9099-08B55BEF9705}" destId="{806E8472-E0D4-425A-89B0-B9E0DF527BC1}" srcOrd="5" destOrd="0" parTransId="{ADC976E7-5857-44A2-B524-51ED4816ADF6}" sibTransId="{37F0BD31-CCC0-4D61-A6F1-1690BF7154A3}"/>
    <dgm:cxn modelId="{6A4A32EC-1269-4E75-8BAE-50F2B2C2D548}" srcId="{DFB03001-3E82-45A7-9099-08B55BEF9705}" destId="{F04B21D9-C7BB-4EF5-9EFE-0940BF6DF841}" srcOrd="3" destOrd="0" parTransId="{AC8711FC-1F2C-4ECA-9982-9DF486A959D9}" sibTransId="{52917B61-D22B-4A17-A1D9-D7B36D3C4B81}"/>
    <dgm:cxn modelId="{7778B6E8-2704-42A6-A7FF-85AD5EAC29CD}" srcId="{24D7B124-1020-4DEE-8A2B-9698D32CFBDB}" destId="{56680C78-835D-4053-ABBB-855DFDCCDE19}" srcOrd="1" destOrd="0" parTransId="{A123C4D6-F063-4942-87C0-E66F1294AF4B}" sibTransId="{F99DCD63-0BA0-4E11-ADF9-3959274F76FF}"/>
    <dgm:cxn modelId="{19FDEC38-BBF2-4C56-B3EA-73FAC31940E7}" type="presOf" srcId="{31504482-6EF6-4923-B2B5-41F02EA3176F}" destId="{61E84CFE-5293-4501-A181-D876103FF0E1}" srcOrd="1" destOrd="0" presId="urn:microsoft.com/office/officeart/2005/8/layout/orgChart1"/>
    <dgm:cxn modelId="{CFCE46AF-7CFC-4FAC-9C09-A72E04BB1EF3}" type="presOf" srcId="{3EC98BA5-4865-4DF9-BDCF-9A708DE3B506}" destId="{455A834B-1640-4222-AF00-FEA4B363A284}" srcOrd="1" destOrd="0" presId="urn:microsoft.com/office/officeart/2005/8/layout/orgChart1"/>
    <dgm:cxn modelId="{F9E8D412-2192-45FB-82F4-A7DB145DA185}" type="presOf" srcId="{C4D434CB-8496-4890-A48F-835758FFB141}" destId="{D821CB0F-8B19-470E-9D5E-46BC0FC5A953}" srcOrd="0" destOrd="0" presId="urn:microsoft.com/office/officeart/2005/8/layout/orgChart1"/>
    <dgm:cxn modelId="{DA65FA5D-124A-4AF7-8BDA-B22C3DEADD0E}" type="presOf" srcId="{90B3C68B-2AA6-4159-A0AA-FFBD652962B2}" destId="{B1AD877C-E2D1-409D-9D49-3A4030AC6494}" srcOrd="1" destOrd="0" presId="urn:microsoft.com/office/officeart/2005/8/layout/orgChart1"/>
    <dgm:cxn modelId="{5E3C36C0-1AB1-4037-A78C-862712D0B3E5}" srcId="{C9DF1206-2C13-45E9-92D4-845869EA4F11}" destId="{B4C6B8A1-6B42-4393-AD33-DBE81AAAE9EC}" srcOrd="1" destOrd="0" parTransId="{C6194110-3940-4293-B2E7-0A9DCCD2A3AA}" sibTransId="{0D03D7CC-7B74-4168-A672-EE840C937895}"/>
    <dgm:cxn modelId="{F66E08D8-C28E-4BFA-9FE0-EEE3BD87564C}" type="presOf" srcId="{E1E2BAA2-BD90-4DF4-9127-14E29A71686D}" destId="{6E2F6462-5EB2-4BBE-A591-0D454C46D7DB}" srcOrd="0" destOrd="0" presId="urn:microsoft.com/office/officeart/2005/8/layout/orgChart1"/>
    <dgm:cxn modelId="{903DE824-ECCA-46E9-BE83-2CA32CE41D53}" type="presOf" srcId="{760A34FC-D186-4C3F-9A9D-5328B04D3677}" destId="{93C5A841-E5A0-40F1-9EB4-BD5F4C1E0F08}" srcOrd="0" destOrd="0" presId="urn:microsoft.com/office/officeart/2005/8/layout/orgChart1"/>
    <dgm:cxn modelId="{C24DE949-8D18-49BB-8822-F0E942388160}" srcId="{C3E9A307-CC60-40FC-8B1F-5308BDFC4D45}" destId="{C4D434CB-8496-4890-A48F-835758FFB141}" srcOrd="2" destOrd="0" parTransId="{7FF22900-E338-4E42-BDFF-30B227E61B51}" sibTransId="{96FD7310-3723-43C0-A3D0-C3F0B68286DB}"/>
    <dgm:cxn modelId="{B53F7608-EEA8-480E-8655-1357AC157D88}" srcId="{90B3C68B-2AA6-4159-A0AA-FFBD652962B2}" destId="{9DED8379-65AB-4839-8381-B4FAC6FB5663}" srcOrd="1" destOrd="0" parTransId="{F2A04CE1-010E-40D3-9764-4F32979EB251}" sibTransId="{91475D2D-1A51-419A-AB1C-16083614F0AF}"/>
    <dgm:cxn modelId="{59234334-2572-4402-B95B-F90FF49C5827}" type="presOf" srcId="{94613D70-2B88-4AD9-82F2-27BDA6E0C71A}" destId="{406DBCB6-C65B-430B-961B-CA5647D55B29}" srcOrd="0" destOrd="0" presId="urn:microsoft.com/office/officeart/2005/8/layout/orgChart1"/>
    <dgm:cxn modelId="{3ADE8C0C-4856-4C22-AB4A-0B136BBEBD9C}" srcId="{BE26FEAC-D8E6-4859-AF1B-7F1AEEBBE9CC}" destId="{3EC98BA5-4865-4DF9-BDCF-9A708DE3B506}" srcOrd="1" destOrd="0" parTransId="{701F1A19-AA2D-4B9F-9782-46D0B0BB35C4}" sibTransId="{1529844E-B3EC-4AD1-9485-6FC63059264B}"/>
    <dgm:cxn modelId="{7915095A-0A25-4594-81D7-8F75326CD857}" srcId="{31504482-6EF6-4923-B2B5-41F02EA3176F}" destId="{13FA9A54-B373-4151-9206-8BBD3F79AE56}" srcOrd="1" destOrd="0" parTransId="{46DFDA5E-08B4-497B-B70A-A26C94A8404B}" sibTransId="{A4403D21-942F-4E60-A0CA-E6755628B27C}"/>
    <dgm:cxn modelId="{EBD77727-5FBC-4C31-948F-4DF3429CA59A}" type="presOf" srcId="{B4C6B8A1-6B42-4393-AD33-DBE81AAAE9EC}" destId="{D0C727F0-59B4-4ABD-8D97-D5EB24FC08E2}" srcOrd="1" destOrd="0" presId="urn:microsoft.com/office/officeart/2005/8/layout/orgChart1"/>
    <dgm:cxn modelId="{5F758276-7CDB-47E1-90B2-EDB0D47BF1B9}" type="presOf" srcId="{CEA4C3C4-026F-41B9-B4BF-ED1C1C9CE7D8}" destId="{E9F7E52F-EC42-43C6-9BC7-5FADF1E36BC9}" srcOrd="1" destOrd="0" presId="urn:microsoft.com/office/officeart/2005/8/layout/orgChart1"/>
    <dgm:cxn modelId="{F325594C-8945-4257-A40A-A0BCAC22BC93}" type="presOf" srcId="{7B0E03DA-2D51-461F-850D-3A2C0C37147B}" destId="{43887142-65CB-4083-81C9-2F65621B0064}" srcOrd="0" destOrd="0" presId="urn:microsoft.com/office/officeart/2005/8/layout/orgChart1"/>
    <dgm:cxn modelId="{14F65247-E586-493D-A140-CCCA3C6AD20A}" type="presOf" srcId="{E7304D63-F1F7-4332-A325-CF0B2BA37C93}" destId="{779BD986-0758-4BEF-A3D3-AB7B6F6B6346}" srcOrd="0" destOrd="0" presId="urn:microsoft.com/office/officeart/2005/8/layout/orgChart1"/>
    <dgm:cxn modelId="{76F74C9D-B457-45B9-BBA2-7F7D470F9B91}" type="presOf" srcId="{05D0271D-900A-42FF-BF29-A2B8284A2B9C}" destId="{663DE3C8-6B0F-4813-95CE-1B7165C526B4}" srcOrd="0" destOrd="0" presId="urn:microsoft.com/office/officeart/2005/8/layout/orgChart1"/>
    <dgm:cxn modelId="{FC9FBB4D-D02B-4F0E-AB1D-FCB4F91001A6}" type="presOf" srcId="{ADC976E7-5857-44A2-B524-51ED4816ADF6}" destId="{FB99E4F6-1BA1-4FBA-9A84-79F96CD77FA0}" srcOrd="0" destOrd="0" presId="urn:microsoft.com/office/officeart/2005/8/layout/orgChart1"/>
    <dgm:cxn modelId="{F8E59A9B-9DBB-49DE-A67E-EFAE84BE4E81}" type="presOf" srcId="{C9DF1206-2C13-45E9-92D4-845869EA4F11}" destId="{C409506C-DFBA-46CD-87B9-2C19932B2F71}" srcOrd="0" destOrd="0" presId="urn:microsoft.com/office/officeart/2005/8/layout/orgChart1"/>
    <dgm:cxn modelId="{D3CFE7AC-E9D9-4077-9616-CAD5F81F45DB}" type="presOf" srcId="{806E8472-E0D4-425A-89B0-B9E0DF527BC1}" destId="{C1556BD0-BD8F-41BC-9F1A-A71F183BADE9}" srcOrd="1" destOrd="0" presId="urn:microsoft.com/office/officeart/2005/8/layout/orgChart1"/>
    <dgm:cxn modelId="{BF1C9AD3-FA9B-42E3-B341-52BB5F650DDE}" srcId="{DFB03001-3E82-45A7-9099-08B55BEF9705}" destId="{E016896C-96D3-4257-BCB1-B74BD57CCA46}" srcOrd="1" destOrd="0" parTransId="{195C712F-D521-453E-89E6-67454440EF54}" sibTransId="{73FD9691-C633-4B6B-BFC4-059D51B7B1C2}"/>
    <dgm:cxn modelId="{3FC92B21-243E-46B4-80CF-3C4C4610B896}" srcId="{3EC98BA5-4865-4DF9-BDCF-9A708DE3B506}" destId="{3FA6DDC6-2579-4669-BD4D-31D05D4195BA}" srcOrd="0" destOrd="0" parTransId="{C694F70B-9CC1-42D3-9B5A-E56FDDC56051}" sibTransId="{1E4396A0-B113-4D2C-8374-ACF801DBD111}"/>
    <dgm:cxn modelId="{BB90D1C0-02AF-4ADA-9B80-28CA4A1CA618}" type="presOf" srcId="{68BAB508-D1AF-4EF8-89F5-7C722B5A8640}" destId="{F5B49664-1DE8-43D9-BA93-B346F847CF17}" srcOrd="1" destOrd="0" presId="urn:microsoft.com/office/officeart/2005/8/layout/orgChart1"/>
    <dgm:cxn modelId="{6DB5CB24-0872-41D8-9719-AEF4034F7B89}" srcId="{8960A1BE-2172-40A2-9660-5EEA44EE629B}" destId="{CEA4C3C4-026F-41B9-B4BF-ED1C1C9CE7D8}" srcOrd="5" destOrd="0" parTransId="{1BDAF70C-1665-4E89-BBDD-F30E0A7E6491}" sibTransId="{1C2DC2D1-7F28-4D8D-8DC6-C7DB717A62F3}"/>
    <dgm:cxn modelId="{81CCABEA-E482-4D30-BD46-DD748D6B0013}" type="presOf" srcId="{C3E9A307-CC60-40FC-8B1F-5308BDFC4D45}" destId="{D2C455B8-A860-426A-AB88-25773B767F3A}" srcOrd="0" destOrd="0" presId="urn:microsoft.com/office/officeart/2005/8/layout/orgChart1"/>
    <dgm:cxn modelId="{F8BA617D-3C71-4C5C-9732-D524F89F472D}" srcId="{9DED8379-65AB-4839-8381-B4FAC6FB5663}" destId="{C3E9A307-CC60-40FC-8B1F-5308BDFC4D45}" srcOrd="1" destOrd="0" parTransId="{E1E2BAA2-BD90-4DF4-9127-14E29A71686D}" sibTransId="{DFC57C3B-73FD-4973-AF5C-789AD738FF18}"/>
    <dgm:cxn modelId="{AFDBC3AF-9C88-4265-98A2-66F006F233A8}" type="presOf" srcId="{37418383-A740-4C4B-A926-98506A94BD7E}" destId="{63E1B64F-6459-4657-8379-1BED33DD1089}" srcOrd="0" destOrd="0" presId="urn:microsoft.com/office/officeart/2005/8/layout/orgChart1"/>
    <dgm:cxn modelId="{D5764C7C-BED1-4100-8139-F27A442C9878}" type="presOf" srcId="{8399BA40-3857-4858-B885-115A2954ADCE}" destId="{916E8DC3-EAD0-4302-BB1B-B99FDC405018}" srcOrd="0" destOrd="0" presId="urn:microsoft.com/office/officeart/2005/8/layout/orgChart1"/>
    <dgm:cxn modelId="{235B5361-AE71-4F91-B6B3-389D82B84E6C}" type="presOf" srcId="{87A0796A-2009-4411-9D29-83BEA9810E93}" destId="{9D4ABC46-073B-442A-815C-4DD51238D694}" srcOrd="1" destOrd="0" presId="urn:microsoft.com/office/officeart/2005/8/layout/orgChart1"/>
    <dgm:cxn modelId="{D6F37D80-13BE-4F13-A0FA-154DBD1166B7}" type="presOf" srcId="{2CDFA5D8-E48C-4910-ADFB-6308A82EF005}" destId="{302C26C4-FB76-446E-A010-3F3F5F0B3EF8}" srcOrd="1" destOrd="0" presId="urn:microsoft.com/office/officeart/2005/8/layout/orgChart1"/>
    <dgm:cxn modelId="{E4BE7090-C6B3-4AD5-8F2A-9C7407654F86}" type="presOf" srcId="{8A8D0E82-0430-4E95-9689-07EBDAF5D762}" destId="{9508B103-C703-46A3-864B-4D55E050C768}" srcOrd="0" destOrd="0" presId="urn:microsoft.com/office/officeart/2005/8/layout/orgChart1"/>
    <dgm:cxn modelId="{4C56C1DB-208F-4890-9A2D-A7924265BD95}" srcId="{24D7B124-1020-4DEE-8A2B-9698D32CFBDB}" destId="{E12020A9-E5A6-4332-9BE2-01D1FD812EFA}" srcOrd="3" destOrd="0" parTransId="{51A5E9A5-B4B0-499A-A83F-31AFC07EB876}" sibTransId="{C590E799-8A78-47BB-B15C-E8345C78B07D}"/>
    <dgm:cxn modelId="{76EE9737-642D-4717-9045-1A72A8FD2BB5}" type="presOf" srcId="{69E85980-7616-41D1-A3C5-AE979E086485}" destId="{36BCA34E-F843-46A6-BBFD-A30F723E56ED}" srcOrd="0" destOrd="0" presId="urn:microsoft.com/office/officeart/2005/8/layout/orgChart1"/>
    <dgm:cxn modelId="{056DEF71-82E0-487C-BF2E-62F0F7142B93}" type="presOf" srcId="{C694F70B-9CC1-42D3-9B5A-E56FDDC56051}" destId="{9944EBD5-C828-43A9-8A13-CCB26ED1F087}" srcOrd="0" destOrd="0" presId="urn:microsoft.com/office/officeart/2005/8/layout/orgChart1"/>
    <dgm:cxn modelId="{1A5EA0F4-DC4C-4ACC-88BE-7871D99C1F12}" type="presOf" srcId="{E12020A9-E5A6-4332-9BE2-01D1FD812EFA}" destId="{C71541D9-B2EA-454C-8FFF-29F6A1A10874}" srcOrd="1" destOrd="0" presId="urn:microsoft.com/office/officeart/2005/8/layout/orgChart1"/>
    <dgm:cxn modelId="{51E334F3-D70F-4159-8F0B-BAA6791D5B2B}" type="presOf" srcId="{A4BC3542-6708-4B7A-A5E7-9D07F79CE753}" destId="{D7908B68-CDB3-4940-B51F-FF422CC2566E}" srcOrd="1" destOrd="0" presId="urn:microsoft.com/office/officeart/2005/8/layout/orgChart1"/>
    <dgm:cxn modelId="{64028304-4BA2-4B94-9D0C-FD1670F87138}" type="presOf" srcId="{B48DD13F-85DB-4D65-AE78-9E0FC2793AAC}" destId="{5BA862AD-D140-49CC-9FB6-7C47F88C939D}" srcOrd="0" destOrd="0" presId="urn:microsoft.com/office/officeart/2005/8/layout/orgChart1"/>
    <dgm:cxn modelId="{4865FB93-28FA-46C6-AC22-03B661A2D868}" type="presOf" srcId="{9E492584-87CF-47D0-AC51-7ABC1B0D1F60}" destId="{4A4C036F-8296-4DBD-8845-13D50EEAEAB1}" srcOrd="1" destOrd="0" presId="urn:microsoft.com/office/officeart/2005/8/layout/orgChart1"/>
    <dgm:cxn modelId="{22C19E58-544A-47A9-9D03-4D5C6E96543E}" type="presOf" srcId="{E016896C-96D3-4257-BCB1-B74BD57CCA46}" destId="{E6785B03-97FC-4131-B123-CBAEF25E33EF}" srcOrd="0" destOrd="0" presId="urn:microsoft.com/office/officeart/2005/8/layout/orgChart1"/>
    <dgm:cxn modelId="{FBEC0EF9-C06F-400C-98FC-AE5E00970D8F}" srcId="{5B91B124-3EDB-475C-BD87-427CBEE2FF98}" destId="{3F799660-74D7-47FC-A345-F1BB9C30CA95}" srcOrd="0" destOrd="0" parTransId="{D4140428-E23E-405D-BA59-2AC81AC7A63D}" sibTransId="{00E3DB93-9820-47B4-AC2A-A6A228578F45}"/>
    <dgm:cxn modelId="{9473D9B5-3423-4557-B0B4-6CF076D1AEC1}" type="presOf" srcId="{13FA9A54-B373-4151-9206-8BBD3F79AE56}" destId="{FE570036-8A62-4AEB-99B2-E93CF120D42B}" srcOrd="0" destOrd="0" presId="urn:microsoft.com/office/officeart/2005/8/layout/orgChart1"/>
    <dgm:cxn modelId="{18529C5E-E0B6-47C4-9951-9F62670B9915}" type="presOf" srcId="{9DCDFD14-FD74-48D3-9FE4-B40348DC9740}" destId="{ECEB9ECE-C8B2-4500-BF69-9285F2F8B60D}" srcOrd="0" destOrd="0" presId="urn:microsoft.com/office/officeart/2005/8/layout/orgChart1"/>
    <dgm:cxn modelId="{238F24D4-21F4-4748-944C-525061BB98DD}" type="presOf" srcId="{760A34FC-D186-4C3F-9A9D-5328B04D3677}" destId="{3549CA68-9389-4E88-8F4E-0B57520BD3A5}" srcOrd="1" destOrd="0" presId="urn:microsoft.com/office/officeart/2005/8/layout/orgChart1"/>
    <dgm:cxn modelId="{BD52FB71-937A-4319-B069-F8F1D09749BD}" srcId="{C3E9A307-CC60-40FC-8B1F-5308BDFC4D45}" destId="{4529D64E-4FB2-43E9-B771-14B87F36DB19}" srcOrd="0" destOrd="0" parTransId="{5F0E1E8E-768C-48E8-B05A-68CEF943C19F}" sibTransId="{FFF942B0-6857-4582-A350-C4EF24C3016E}"/>
    <dgm:cxn modelId="{AD58175E-CF04-4CD7-AC68-60EFFB5454B6}" type="presOf" srcId="{1BDAF70C-1665-4E89-BBDD-F30E0A7E6491}" destId="{8570632C-E482-4D89-80E7-9CA542E4A966}" srcOrd="0" destOrd="0" presId="urn:microsoft.com/office/officeart/2005/8/layout/orgChart1"/>
    <dgm:cxn modelId="{614C88AA-4148-499A-9E7C-051E5A781FF3}" srcId="{24D7B124-1020-4DEE-8A2B-9698D32CFBDB}" destId="{A128DEFB-08B6-48F7-B05E-9EABA1A44A35}" srcOrd="2" destOrd="0" parTransId="{3FC5AD23-1231-4CAF-A7E8-0626A975BFCD}" sibTransId="{24681266-3542-41D1-B47D-7C70AEED9F8D}"/>
    <dgm:cxn modelId="{63818ECE-DBEA-478B-9BF7-1534B3087E66}" type="presOf" srcId="{E4B105B5-E3FD-43B5-8B36-8A615E256692}" destId="{4548059A-61FC-485A-9BF7-E5B094DFBD21}" srcOrd="0" destOrd="0" presId="urn:microsoft.com/office/officeart/2005/8/layout/orgChart1"/>
    <dgm:cxn modelId="{F0B15CC5-1AD0-4972-880A-C8000741C72A}" type="presOf" srcId="{44D9A562-B06B-4B38-ADAF-4E9CDBF6E28B}" destId="{86B42267-F01B-4B3D-A41C-2CB56095381A}" srcOrd="0" destOrd="0" presId="urn:microsoft.com/office/officeart/2005/8/layout/orgChart1"/>
    <dgm:cxn modelId="{1C279E29-04F4-4F96-9B29-0CD2885E7ED6}" srcId="{91A5C726-4DA1-41FD-928E-5252C3531386}" destId="{41EF5E40-B4DE-4611-9A77-93B4036804B7}" srcOrd="2" destOrd="0" parTransId="{7CF63899-1F8E-405E-BE5B-EA743A2FD6FD}" sibTransId="{7A9B1CAD-DD9E-4395-AEA6-121E7FAC36F5}"/>
    <dgm:cxn modelId="{BC574FB8-290F-41A8-A0F3-B65EA77B8B9B}" type="presOf" srcId="{24D7B124-1020-4DEE-8A2B-9698D32CFBDB}" destId="{0C1141D6-D82B-4349-A24B-813917B95D65}" srcOrd="1" destOrd="0" presId="urn:microsoft.com/office/officeart/2005/8/layout/orgChart1"/>
    <dgm:cxn modelId="{1E617E48-FA02-43A0-9B19-BEA01093F428}" type="presOf" srcId="{C3E9A307-CC60-40FC-8B1F-5308BDFC4D45}" destId="{28CCA4D4-2CB0-4D69-90E0-270AE2A96BA2}" srcOrd="1" destOrd="0" presId="urn:microsoft.com/office/officeart/2005/8/layout/orgChart1"/>
    <dgm:cxn modelId="{B33D78A3-40CA-4FDA-9C73-DF1A3363145B}" type="presOf" srcId="{BE26FEAC-D8E6-4859-AF1B-7F1AEEBBE9CC}" destId="{1FF6D80E-B999-4681-859D-E6E8E0D7E5FC}" srcOrd="1" destOrd="0" presId="urn:microsoft.com/office/officeart/2005/8/layout/orgChart1"/>
    <dgm:cxn modelId="{FE7E2EFD-A776-41C2-94A9-A755E61FEFE5}" type="presOf" srcId="{91A5C726-4DA1-41FD-928E-5252C3531386}" destId="{25E8FFF0-DE1D-418E-987D-1801235E5D97}" srcOrd="0" destOrd="0" presId="urn:microsoft.com/office/officeart/2005/8/layout/orgChart1"/>
    <dgm:cxn modelId="{D34432E6-9B0B-480D-BCF9-536728C00E93}" type="presOf" srcId="{41EF5E40-B4DE-4611-9A77-93B4036804B7}" destId="{F4EA5339-5D1F-4AEF-8DDA-A75CBA748561}" srcOrd="1" destOrd="0" presId="urn:microsoft.com/office/officeart/2005/8/layout/orgChart1"/>
    <dgm:cxn modelId="{619CD328-08E0-4970-971B-205BD9CECD1E}" srcId="{DFB03001-3E82-45A7-9099-08B55BEF9705}" destId="{05D0271D-900A-42FF-BF29-A2B8284A2B9C}" srcOrd="4" destOrd="0" parTransId="{8A8D0E82-0430-4E95-9689-07EBDAF5D762}" sibTransId="{7766FFC6-C22A-4AC2-A777-9F24DAB0DFED}"/>
    <dgm:cxn modelId="{8F74D4D9-1D03-4152-97E4-3682C896A829}" type="presOf" srcId="{7CF63899-1F8E-405E-BE5B-EA743A2FD6FD}" destId="{DFB36E5E-BBA1-4453-9A2E-0D0FF3E3D30B}" srcOrd="0" destOrd="0" presId="urn:microsoft.com/office/officeart/2005/8/layout/orgChart1"/>
    <dgm:cxn modelId="{1C9D614D-0727-4EF3-99C9-CEFBC957FFDA}" type="presOf" srcId="{806E8472-E0D4-425A-89B0-B9E0DF527BC1}" destId="{D8C2AB15-5E99-4407-95D3-F1B4D66F02DF}" srcOrd="0" destOrd="0" presId="urn:microsoft.com/office/officeart/2005/8/layout/orgChart1"/>
    <dgm:cxn modelId="{5A7C066C-6ECD-43DE-8D7E-138A1F636E85}" type="presOf" srcId="{F50C0774-F916-4DB7-A3FC-AB695AD4DBE2}" destId="{58DDD4D8-A230-424D-9955-0A1940001334}" srcOrd="1" destOrd="0" presId="urn:microsoft.com/office/officeart/2005/8/layout/orgChart1"/>
    <dgm:cxn modelId="{362A84A8-F1A8-4070-9C55-9329EE9DCCC4}" srcId="{8960A1BE-2172-40A2-9660-5EEA44EE629B}" destId="{A4BC3542-6708-4B7A-A5E7-9D07F79CE753}" srcOrd="1" destOrd="0" parTransId="{319E5FD1-84FC-47DF-8CEF-1AA46A92A777}" sibTransId="{68CFECCA-3393-4918-8CB0-773AB5FE0884}"/>
    <dgm:cxn modelId="{4A8A3984-8E25-4AC0-AD6C-C02DE62F0C73}" type="presOf" srcId="{AED5CB8B-B8CB-4778-8BD5-73F5B18C3B30}" destId="{3C36ED40-E124-4FEE-8336-4BD689E13C38}" srcOrd="0" destOrd="0" presId="urn:microsoft.com/office/officeart/2005/8/layout/orgChart1"/>
    <dgm:cxn modelId="{636A4BA3-0012-494A-B26F-2BE97FD66F68}" type="presOf" srcId="{B4C6B8A1-6B42-4393-AD33-DBE81AAAE9EC}" destId="{B94E3941-3687-427D-B799-4F3006AADBF5}" srcOrd="0" destOrd="0" presId="urn:microsoft.com/office/officeart/2005/8/layout/orgChart1"/>
    <dgm:cxn modelId="{5B4AC369-DA0B-4961-89D2-F927762F4268}" type="presOf" srcId="{46DFDA5E-08B4-497B-B70A-A26C94A8404B}" destId="{6D0E61C4-FD16-4220-A481-EF537436EED9}" srcOrd="0" destOrd="0" presId="urn:microsoft.com/office/officeart/2005/8/layout/orgChart1"/>
    <dgm:cxn modelId="{16D98B6C-EE87-4840-812A-A9BB7A82DD42}" type="presOf" srcId="{279E7FA2-E087-4B0F-BAA7-CC72112B84A7}" destId="{F3D394A0-E10E-4634-9BE5-C6B2C50B8221}" srcOrd="0" destOrd="0" presId="urn:microsoft.com/office/officeart/2005/8/layout/orgChart1"/>
    <dgm:cxn modelId="{8820FA12-8CF0-476D-ADCF-6A17D6DEB8DF}" type="presOf" srcId="{8960A1BE-2172-40A2-9660-5EEA44EE629B}" destId="{6348D6E8-9ABB-491F-B944-949E09C467A7}" srcOrd="1" destOrd="0" presId="urn:microsoft.com/office/officeart/2005/8/layout/orgChart1"/>
    <dgm:cxn modelId="{D7136858-EE35-4395-8E83-E076D6FBA201}" type="presOf" srcId="{44D9A562-B06B-4B38-ADAF-4E9CDBF6E28B}" destId="{0678BCDC-E271-411E-BF4F-E8D4E12E424C}" srcOrd="1" destOrd="0" presId="urn:microsoft.com/office/officeart/2005/8/layout/orgChart1"/>
    <dgm:cxn modelId="{F7718A64-8AEF-4EFB-AEF7-4DACE2CB807F}" type="presOf" srcId="{C684F114-DA67-4901-A34F-2CF310102D34}" destId="{0DEAD7B1-F20B-4975-879B-1C97F65BCAE9}" srcOrd="0" destOrd="0" presId="urn:microsoft.com/office/officeart/2005/8/layout/orgChart1"/>
    <dgm:cxn modelId="{630FDA38-7D8E-4AAC-B653-8940462E9FC7}" type="presOf" srcId="{97F53900-51D6-42C4-A7A4-B29EC3BBD80C}" destId="{C5744002-6D5D-4CF8-B708-0E0DA394788E}" srcOrd="0" destOrd="0" presId="urn:microsoft.com/office/officeart/2005/8/layout/orgChart1"/>
    <dgm:cxn modelId="{375FFAA5-F515-469D-87A1-5575B9392A4B}" type="presOf" srcId="{41EF5E40-B4DE-4611-9A77-93B4036804B7}" destId="{64B1788A-2800-4E52-B4CC-251E5B268638}" srcOrd="0" destOrd="0" presId="urn:microsoft.com/office/officeart/2005/8/layout/orgChart1"/>
    <dgm:cxn modelId="{9704CC6C-CBE9-4B99-B958-BBF3F506756D}" type="presOf" srcId="{9DCDFD14-FD74-48D3-9FE4-B40348DC9740}" destId="{68732088-6569-4901-B7B2-17CD28EB3CFD}" srcOrd="1" destOrd="0" presId="urn:microsoft.com/office/officeart/2005/8/layout/orgChart1"/>
    <dgm:cxn modelId="{980459C9-8D21-4E17-A603-68ACBB075DAA}" srcId="{8960A1BE-2172-40A2-9660-5EEA44EE629B}" destId="{254DA9DE-FD56-4B80-98E4-A5D3B68E885B}" srcOrd="3" destOrd="0" parTransId="{279E7FA2-E087-4B0F-BAA7-CC72112B84A7}" sibTransId="{C8DE14E4-42B7-4A52-83BA-5F928ECC71F7}"/>
    <dgm:cxn modelId="{10F57884-0718-4175-B5B0-2404109D1714}" srcId="{9DED8379-65AB-4839-8381-B4FAC6FB5663}" destId="{DFB03001-3E82-45A7-9099-08B55BEF9705}" srcOrd="0" destOrd="0" parTransId="{57B39B58-8E62-4546-93FE-5294F73AD5CB}" sibTransId="{8A19B0DA-FFCD-4C68-89B3-75787747FA03}"/>
    <dgm:cxn modelId="{66654496-6861-487F-9607-B4597F9C1712}" type="presOf" srcId="{B0673CA1-0787-4663-ABDD-63A97B531C63}" destId="{12FDE786-B43A-4B42-99F8-C2211595EB77}" srcOrd="0" destOrd="0" presId="urn:microsoft.com/office/officeart/2005/8/layout/orgChart1"/>
    <dgm:cxn modelId="{6201A75F-3DF7-469B-8B13-9C426814D158}" type="presOf" srcId="{9C9FF87D-5DA9-4490-8674-96B6D48B71B8}" destId="{1A2A86F8-D710-43F6-8DED-53BC15EA3353}" srcOrd="0" destOrd="0" presId="urn:microsoft.com/office/officeart/2005/8/layout/orgChart1"/>
    <dgm:cxn modelId="{6AA53095-8942-4DBE-BD3F-541377FE4E09}" srcId="{C9DF1206-2C13-45E9-92D4-845869EA4F11}" destId="{DFAA7F3C-B3D4-4C21-8880-E6C6C4CB87B3}" srcOrd="3" destOrd="0" parTransId="{76638C63-D3C4-4C28-BAB5-4E2F6019346F}" sibTransId="{4D515CE9-2B7F-4B30-BB03-EB9AE9CF790F}"/>
    <dgm:cxn modelId="{8911ACDC-7B8B-4FF8-832F-729D814F5680}" type="presOf" srcId="{05D0271D-900A-42FF-BF29-A2B8284A2B9C}" destId="{38AB4581-4625-43C1-8D4B-24A89C4654E5}" srcOrd="1" destOrd="0" presId="urn:microsoft.com/office/officeart/2005/8/layout/orgChart1"/>
    <dgm:cxn modelId="{0F8CE5E4-0DB7-48AE-9529-FC1516DFA15E}" type="presOf" srcId="{8399BA40-3857-4858-B885-115A2954ADCE}" destId="{3BAA9E84-D60A-4361-BE65-BBBB69624B56}" srcOrd="1" destOrd="0" presId="urn:microsoft.com/office/officeart/2005/8/layout/orgChart1"/>
    <dgm:cxn modelId="{905E293A-E99A-462C-93F9-25C674771854}" type="presOf" srcId="{B7D4E461-616E-4038-9C04-46DB1AE02EB6}" destId="{65E89354-3B38-4649-A722-A0B2DD8D979A}" srcOrd="0" destOrd="0" presId="urn:microsoft.com/office/officeart/2005/8/layout/orgChart1"/>
    <dgm:cxn modelId="{D08735EB-2C37-42B1-9215-0C1DCE1EB2E8}" type="presOf" srcId="{3FA6DDC6-2579-4669-BD4D-31D05D4195BA}" destId="{FB7F0497-AC5A-4037-AD7C-46BFF22DDE6B}" srcOrd="0" destOrd="0" presId="urn:microsoft.com/office/officeart/2005/8/layout/orgChart1"/>
    <dgm:cxn modelId="{9FC24A33-33E7-4A90-A9EE-65D3A86F6A43}" type="presOf" srcId="{71DDC489-CE35-4568-9520-E658C0DF1ABF}" destId="{B3D4565A-8D31-40DA-AB2A-5C22BCCFD57C}" srcOrd="0" destOrd="0" presId="urn:microsoft.com/office/officeart/2005/8/layout/orgChart1"/>
    <dgm:cxn modelId="{A2C33EC2-EABA-421D-B449-4969D46179CC}" type="presOf" srcId="{C684F114-DA67-4901-A34F-2CF310102D34}" destId="{BC2D2780-D28A-4378-B169-D69FC5E1EFF8}" srcOrd="1" destOrd="0" presId="urn:microsoft.com/office/officeart/2005/8/layout/orgChart1"/>
    <dgm:cxn modelId="{6F8031D3-2138-4732-8B99-77195B9EBE22}" type="presOf" srcId="{13FA9A54-B373-4151-9206-8BBD3F79AE56}" destId="{28A03ECB-D246-4894-8B8D-369B5138B9CD}" srcOrd="1" destOrd="0" presId="urn:microsoft.com/office/officeart/2005/8/layout/orgChart1"/>
    <dgm:cxn modelId="{99D609A3-7195-40C4-B4F7-13560833661A}" type="presOf" srcId="{F04B21D9-C7BB-4EF5-9EFE-0940BF6DF841}" destId="{791C3F76-0645-4A7F-AFEB-BD23E3950A41}" srcOrd="0" destOrd="0" presId="urn:microsoft.com/office/officeart/2005/8/layout/orgChart1"/>
    <dgm:cxn modelId="{B36379D6-D075-4DBE-8A31-CE3E4F2EFAB0}" type="presOf" srcId="{DFB03001-3E82-45A7-9099-08B55BEF9705}" destId="{D4CB5618-222F-457D-BC30-B674E5FD3FAB}" srcOrd="0" destOrd="0" presId="urn:microsoft.com/office/officeart/2005/8/layout/orgChart1"/>
    <dgm:cxn modelId="{61DF9747-ED5B-4B6F-A23E-6C9413618E88}" type="presOf" srcId="{4BAF4DE6-8549-4AEB-893C-88DFB81788BF}" destId="{C151C31C-25C2-4337-AC99-2822AD37E02F}" srcOrd="0" destOrd="0" presId="urn:microsoft.com/office/officeart/2005/8/layout/orgChart1"/>
    <dgm:cxn modelId="{95B13CC8-6189-4EC3-8B3A-D2D0AB83860A}" srcId="{8960A1BE-2172-40A2-9660-5EEA44EE629B}" destId="{68BAB508-D1AF-4EF8-89F5-7C722B5A8640}" srcOrd="0" destOrd="0" parTransId="{D3F8F215-B090-4C4B-8953-C389691940C4}" sibTransId="{9F07DADD-B6B7-4231-82C8-5B985139E7BA}"/>
    <dgm:cxn modelId="{00D17E75-D803-4FDD-B2D3-189092172886}" type="presOf" srcId="{D2DB2E3D-602B-4893-A2D9-57860639AEB7}" destId="{D82C5469-A533-41EF-B2D3-6D59DEDEEFD9}" srcOrd="1" destOrd="0" presId="urn:microsoft.com/office/officeart/2005/8/layout/orgChart1"/>
    <dgm:cxn modelId="{E6CFD81C-6C82-4A08-B50C-2B74ED373618}" type="presOf" srcId="{07C03D6E-8E54-4D7E-86C3-FD55FAF905C1}" destId="{72563BEF-C03A-4B18-8E1F-DDF1D3177705}" srcOrd="0" destOrd="0" presId="urn:microsoft.com/office/officeart/2005/8/layout/orgChart1"/>
    <dgm:cxn modelId="{9569A229-A48F-47D0-B359-938CA199339C}" type="presOf" srcId="{E016896C-96D3-4257-BCB1-B74BD57CCA46}" destId="{A5703F16-D454-443E-B680-7DC0D58F73C6}" srcOrd="1" destOrd="0" presId="urn:microsoft.com/office/officeart/2005/8/layout/orgChart1"/>
    <dgm:cxn modelId="{D85B861D-8012-4C20-A158-E732975C9228}" type="presOf" srcId="{4529D64E-4FB2-43E9-B771-14B87F36DB19}" destId="{6C787661-5711-408B-AA86-17BA6316F20E}" srcOrd="0" destOrd="0" presId="urn:microsoft.com/office/officeart/2005/8/layout/orgChart1"/>
    <dgm:cxn modelId="{7E1A7BA7-AA87-4640-B9B2-A396AB35A94A}" type="presOf" srcId="{63B3BA05-D145-4830-B01E-A79972DD73D0}" destId="{5A3C1543-A2D6-42AD-9D97-5074512A6812}" srcOrd="0" destOrd="0" presId="urn:microsoft.com/office/officeart/2005/8/layout/orgChart1"/>
    <dgm:cxn modelId="{86ED374B-7600-4BA5-B360-D24569FA8026}" srcId="{91A5C726-4DA1-41FD-928E-5252C3531386}" destId="{8960A1BE-2172-40A2-9660-5EEA44EE629B}" srcOrd="3" destOrd="0" parTransId="{E7304D63-F1F7-4332-A325-CF0B2BA37C93}" sibTransId="{D466C371-3083-4EAA-A50D-E2C50AC581B6}"/>
    <dgm:cxn modelId="{22884869-9CE2-4E93-8E93-2AD82CD78088}" type="presOf" srcId="{751B0F5C-20DE-420D-85EC-4BFE4E79525D}" destId="{125D1C61-5C23-45CD-8C28-38CD25BAFFCE}" srcOrd="0" destOrd="0" presId="urn:microsoft.com/office/officeart/2005/8/layout/orgChart1"/>
    <dgm:cxn modelId="{51507D95-46B9-47CC-9774-E4CFD43AD164}" type="presOf" srcId="{3FC5AD23-1231-4CAF-A7E8-0626A975BFCD}" destId="{891B460B-5DD0-4E04-8041-9D2D94B1C315}" srcOrd="0" destOrd="0" presId="urn:microsoft.com/office/officeart/2005/8/layout/orgChart1"/>
    <dgm:cxn modelId="{E04EA4A3-8A92-491B-B9E4-40B052A1AEEE}" srcId="{C3E9A307-CC60-40FC-8B1F-5308BDFC4D45}" destId="{B14F391A-8DE1-467D-B30A-494B0787F60C}" srcOrd="3" destOrd="0" parTransId="{63B3BA05-D145-4830-B01E-A79972DD73D0}" sibTransId="{A0931FDA-E216-4208-AF6B-D856741DA6B2}"/>
    <dgm:cxn modelId="{83B04FD8-A5A9-4A34-82A1-D088465313CA}" type="presOf" srcId="{8960A1BE-2172-40A2-9660-5EEA44EE629B}" destId="{B98263AC-9709-4990-896A-3AAEACA1FA3B}" srcOrd="0" destOrd="0" presId="urn:microsoft.com/office/officeart/2005/8/layout/orgChart1"/>
    <dgm:cxn modelId="{F07DBB99-0639-4DD8-924F-7D8D5A283E65}" type="presOf" srcId="{B0673CA1-0787-4663-ABDD-63A97B531C63}" destId="{3A29F681-D4A4-44C5-9236-8AD04A389274}" srcOrd="1" destOrd="0" presId="urn:microsoft.com/office/officeart/2005/8/layout/orgChart1"/>
    <dgm:cxn modelId="{A1C87CBB-5BE2-4F98-85EF-10A84B88C591}" type="presOf" srcId="{F4AA74D6-445A-473C-8EED-0D4C03CF89D8}" destId="{D7C9952F-D4DC-4810-BBA9-E23100F3DE37}" srcOrd="1" destOrd="0" presId="urn:microsoft.com/office/officeart/2005/8/layout/orgChart1"/>
    <dgm:cxn modelId="{8971EE15-A2C0-45B8-AE26-889460208C54}" type="presOf" srcId="{F50C0774-F916-4DB7-A3FC-AB695AD4DBE2}" destId="{43AD7475-ACA3-413F-8680-295E510B65E0}" srcOrd="0" destOrd="0" presId="urn:microsoft.com/office/officeart/2005/8/layout/orgChart1"/>
    <dgm:cxn modelId="{584929C2-C8B4-44BE-AEBA-ECE6531E1075}" type="presOf" srcId="{B14F391A-8DE1-467D-B30A-494B0787F60C}" destId="{CB1E7458-F2DE-4F17-B9AC-EFB56E9E8857}" srcOrd="1" destOrd="0" presId="urn:microsoft.com/office/officeart/2005/8/layout/orgChart1"/>
    <dgm:cxn modelId="{8B5AEA21-24A3-43DA-AF3F-9A8E270E6A2D}" srcId="{3EC98BA5-4865-4DF9-BDCF-9A708DE3B506}" destId="{C684F114-DA67-4901-A34F-2CF310102D34}" srcOrd="1" destOrd="0" parTransId="{001BE4AD-54EB-460E-827E-7C9DD12B8FD8}" sibTransId="{DF3F9ADA-D500-4FED-B12C-EEA4E051754A}"/>
    <dgm:cxn modelId="{BAB2C4EC-2202-476C-A7AF-D6E150546BA5}" srcId="{91A5C726-4DA1-41FD-928E-5252C3531386}" destId="{F4AA74D6-445A-473C-8EED-0D4C03CF89D8}" srcOrd="4" destOrd="0" parTransId="{4B1FA76D-2738-4D54-8CD0-29ED3A58890D}" sibTransId="{9D8C0802-AC38-45AE-AFAB-8F8CC0CAB7BA}"/>
    <dgm:cxn modelId="{AC6B796D-006C-4552-8444-2AD8CF636116}" srcId="{24D7B124-1020-4DEE-8A2B-9698D32CFBDB}" destId="{30260A2D-7B25-4B68-9C1B-480B68AE11ED}" srcOrd="0" destOrd="0" parTransId="{85DDF844-FF29-486D-8205-47C256C5AE38}" sibTransId="{4CA9DAD2-6BA9-4406-ADAE-CA7165C30CFC}"/>
    <dgm:cxn modelId="{B1916BCE-934F-459E-ABC3-2FDD0ECDB014}" type="presOf" srcId="{4529D64E-4FB2-43E9-B771-14B87F36DB19}" destId="{15926D5A-7D13-4905-B882-9E3F6C748995}" srcOrd="1" destOrd="0" presId="urn:microsoft.com/office/officeart/2005/8/layout/orgChart1"/>
    <dgm:cxn modelId="{FE81CD53-25DA-4303-9B37-E97168F8AEB7}" type="presOf" srcId="{7FF22900-E338-4E42-BDFF-30B227E61B51}" destId="{37784D33-158C-4FE4-9852-E29E352BA539}" srcOrd="0" destOrd="0" presId="urn:microsoft.com/office/officeart/2005/8/layout/orgChart1"/>
    <dgm:cxn modelId="{AADD2451-6692-4DD7-A459-86247BDE5E5D}" type="presOf" srcId="{9DED8379-65AB-4839-8381-B4FAC6FB5663}" destId="{B3C62A13-97FF-4369-A831-14A2AAB802D9}" srcOrd="0" destOrd="0" presId="urn:microsoft.com/office/officeart/2005/8/layout/orgChart1"/>
    <dgm:cxn modelId="{DB4EDC94-CC61-4727-B9B5-F144D6E384EA}" type="presOf" srcId="{A4BC3542-6708-4B7A-A5E7-9D07F79CE753}" destId="{6AF774BF-8E84-45A0-8655-A0F2F3D66D3F}" srcOrd="0" destOrd="0" presId="urn:microsoft.com/office/officeart/2005/8/layout/orgChart1"/>
    <dgm:cxn modelId="{27190CEC-C2FD-42CA-ABA6-B9EC83A5DD9F}" type="presOf" srcId="{8E935561-48A0-4A05-920B-9DAF806CA9B4}" destId="{8A532C3D-5456-44E8-9A44-E27ED64ED375}" srcOrd="0" destOrd="0" presId="urn:microsoft.com/office/officeart/2005/8/layout/orgChart1"/>
    <dgm:cxn modelId="{237E36D3-C5B4-409B-AE53-00AE7265A8F1}" type="presOf" srcId="{001BE4AD-54EB-460E-827E-7C9DD12B8FD8}" destId="{2D28004C-D283-48B7-BF6A-F6DCC2543F39}" srcOrd="0" destOrd="0" presId="urn:microsoft.com/office/officeart/2005/8/layout/orgChart1"/>
    <dgm:cxn modelId="{1B8C04F2-D104-4D37-8A61-6F3193A29EF0}" type="presOf" srcId="{195C712F-D521-453E-89E6-67454440EF54}" destId="{D70DF42D-6361-4C9C-8C9C-6C1273690FA4}" srcOrd="0" destOrd="0" presId="urn:microsoft.com/office/officeart/2005/8/layout/orgChart1"/>
    <dgm:cxn modelId="{8E6881D8-CDBA-40B9-A592-8EEFD7362686}" type="presOf" srcId="{C6194110-3940-4293-B2E7-0A9DCCD2A3AA}" destId="{D62662A8-0EB4-43A7-AD2E-7EF26C82EB47}" srcOrd="0" destOrd="0" presId="urn:microsoft.com/office/officeart/2005/8/layout/orgChart1"/>
    <dgm:cxn modelId="{E1734C46-FF78-4CF5-956A-ED558722D3C8}" type="presOf" srcId="{68BAB508-D1AF-4EF8-89F5-7C722B5A8640}" destId="{70594EC9-F986-494D-ADE6-E61F69D4FDD0}" srcOrd="0" destOrd="0" presId="urn:microsoft.com/office/officeart/2005/8/layout/orgChart1"/>
    <dgm:cxn modelId="{AB2F2169-BD2B-4281-93A2-B6D68DEA0D3D}" type="presOf" srcId="{9BDE54EE-3945-4852-A375-00796B68EA21}" destId="{AAD3C840-093B-4748-BFD7-04A330B33C5B}" srcOrd="0" destOrd="0" presId="urn:microsoft.com/office/officeart/2005/8/layout/orgChart1"/>
    <dgm:cxn modelId="{33EFFCCA-DC4D-45CC-92D5-B53C72A2A384}" type="presOf" srcId="{24D7B124-1020-4DEE-8A2B-9698D32CFBDB}" destId="{2111E0AA-48F9-4F9E-86A9-2AF4CBCEF10E}" srcOrd="0" destOrd="0" presId="urn:microsoft.com/office/officeart/2005/8/layout/orgChart1"/>
    <dgm:cxn modelId="{A70E3916-F8B8-4A29-B88A-EADB71CDEA97}" type="presOf" srcId="{30260A2D-7B25-4B68-9C1B-480B68AE11ED}" destId="{FB536E91-04BA-4A4F-8714-9DC6D7B9BC94}" srcOrd="0" destOrd="0" presId="urn:microsoft.com/office/officeart/2005/8/layout/orgChart1"/>
    <dgm:cxn modelId="{6F5FCBCE-200A-4DC5-9C23-80D3A106AB17}" srcId="{DFB03001-3E82-45A7-9099-08B55BEF9705}" destId="{8399BA40-3857-4858-B885-115A2954ADCE}" srcOrd="2" destOrd="0" parTransId="{97F53900-51D6-42C4-A7A4-B29EC3BBD80C}" sibTransId="{C674F37F-EA62-4809-B4D1-D6917E7D11E6}"/>
    <dgm:cxn modelId="{E2A0AF2E-49BD-4C92-A471-56936664FBC3}" type="presOf" srcId="{BE26FEAC-D8E6-4859-AF1B-7F1AEEBBE9CC}" destId="{2055A546-9E51-4A21-90EA-CF9B2539A477}" srcOrd="0" destOrd="0" presId="urn:microsoft.com/office/officeart/2005/8/layout/orgChart1"/>
    <dgm:cxn modelId="{6FEAF624-ACE1-4048-81DF-FA908A699BF9}" type="presOf" srcId="{C4D434CB-8496-4890-A48F-835758FFB141}" destId="{BE667484-37F9-4D23-9C1D-597773941693}" srcOrd="1" destOrd="0" presId="urn:microsoft.com/office/officeart/2005/8/layout/orgChart1"/>
    <dgm:cxn modelId="{7FD91CA3-76DE-4A2C-BF97-5EE2488F26E1}" type="presOf" srcId="{57B39B58-8E62-4546-93FE-5294F73AD5CB}" destId="{5CAA25DC-0279-4580-BBCE-AC10E8DB285B}" srcOrd="0" destOrd="0" presId="urn:microsoft.com/office/officeart/2005/8/layout/orgChart1"/>
    <dgm:cxn modelId="{884AD720-267B-4081-8F46-68DD2DE1774A}" type="presOf" srcId="{AC8711FC-1F2C-4ECA-9982-9DF486A959D9}" destId="{91D7DEBC-3600-422A-A5B2-DE17AFE46963}" srcOrd="0" destOrd="0" presId="urn:microsoft.com/office/officeart/2005/8/layout/orgChart1"/>
    <dgm:cxn modelId="{B9B8D7E8-FF24-48BE-9EAB-2B8C56B8A786}" type="presOf" srcId="{CEA4C3C4-026F-41B9-B4BF-ED1C1C9CE7D8}" destId="{D1D21F78-21FA-4F79-8198-49AF02F8DDC4}" srcOrd="0" destOrd="0" presId="urn:microsoft.com/office/officeart/2005/8/layout/orgChart1"/>
    <dgm:cxn modelId="{CCC6B877-AB48-459C-A4B5-1BD2793BF959}" type="presOf" srcId="{D4140428-E23E-405D-BA59-2AC81AC7A63D}" destId="{34746820-AED3-4B8D-9939-579F5175DD0B}" srcOrd="0" destOrd="0" presId="urn:microsoft.com/office/officeart/2005/8/layout/orgChart1"/>
    <dgm:cxn modelId="{A9929A13-9EBF-43A2-A432-668D4EE10F77}" type="presOf" srcId="{F4AA74D6-445A-473C-8EED-0D4C03CF89D8}" destId="{3D55EECB-84AF-416E-BBDD-B721E755EA9B}" srcOrd="0" destOrd="0" presId="urn:microsoft.com/office/officeart/2005/8/layout/orgChart1"/>
    <dgm:cxn modelId="{7F8FB4BA-D8AC-43B2-B8CE-907685E32082}" srcId="{C3E9A307-CC60-40FC-8B1F-5308BDFC4D45}" destId="{F50C0774-F916-4DB7-A3FC-AB695AD4DBE2}" srcOrd="1" destOrd="0" parTransId="{5F7D7930-63DD-4F4A-9618-1B810DA86551}" sibTransId="{B19CB1C7-A768-47EA-A482-8BE2229D5467}"/>
    <dgm:cxn modelId="{35C29330-EEFA-4CE3-A40D-F91CF5927DEE}" type="presOf" srcId="{51A5E9A5-B4B0-499A-A83F-31AFC07EB876}" destId="{AEF40FA4-CB68-4F36-BBC6-9798D0CFB20E}" srcOrd="0" destOrd="0" presId="urn:microsoft.com/office/officeart/2005/8/layout/orgChart1"/>
    <dgm:cxn modelId="{63A520A8-F588-4BD7-A679-60B91AE62906}" srcId="{BE26FEAC-D8E6-4859-AF1B-7F1AEEBBE9CC}" destId="{24D7B124-1020-4DEE-8A2B-9698D32CFBDB}" srcOrd="0" destOrd="0" parTransId="{8E935561-48A0-4A05-920B-9DAF806CA9B4}" sibTransId="{A3FDF6DD-BF6F-4A5E-943F-4F9A5DE3205F}"/>
    <dgm:cxn modelId="{AFF4D2ED-D730-4671-B45A-DF8227E00EB8}" type="presOf" srcId="{3F799660-74D7-47FC-A345-F1BB9C30CA95}" destId="{7C916EDB-4332-4149-AC17-C3C9C500D49F}" srcOrd="0" destOrd="0" presId="urn:microsoft.com/office/officeart/2005/8/layout/orgChart1"/>
    <dgm:cxn modelId="{97A2E60F-4956-46B2-BF87-298F9F9887DA}" srcId="{31504482-6EF6-4923-B2B5-41F02EA3176F}" destId="{3068F8E5-FCAA-410C-88A7-9AE766296E8C}" srcOrd="2" destOrd="0" parTransId="{94613D70-2B88-4AD9-82F2-27BDA6E0C71A}" sibTransId="{7DD69898-E0E5-40CE-989C-FDE3C284B1C7}"/>
    <dgm:cxn modelId="{D57295C8-3786-4D8A-9207-D6D5AC732320}" type="presOf" srcId="{319E5FD1-84FC-47DF-8CEF-1AA46A92A777}" destId="{56CA0D62-2077-4404-8EBD-E967E4D80D32}" srcOrd="0" destOrd="0" presId="urn:microsoft.com/office/officeart/2005/8/layout/orgChart1"/>
    <dgm:cxn modelId="{E2CD7DA6-4646-4FE2-B1B5-06CF699EFD14}" srcId="{C9DF1206-2C13-45E9-92D4-845869EA4F11}" destId="{5B91B124-3EDB-475C-BD87-427CBEE2FF98}" srcOrd="5" destOrd="0" parTransId="{37418383-A740-4C4B-A926-98506A94BD7E}" sibTransId="{8505AF16-BAA4-4E11-B8C3-738D70FE65A2}"/>
    <dgm:cxn modelId="{227291BB-0465-43CF-9839-F2AC83421058}" type="presOf" srcId="{3EC98BA5-4865-4DF9-BDCF-9A708DE3B506}" destId="{88AE6FBE-7677-4FCE-BF53-4A8B213AF572}" srcOrd="0" destOrd="0" presId="urn:microsoft.com/office/officeart/2005/8/layout/orgChart1"/>
    <dgm:cxn modelId="{E73ABA1A-9F11-4806-96CF-AB72ED05E49B}" srcId="{C9DF1206-2C13-45E9-92D4-845869EA4F11}" destId="{BE26FEAC-D8E6-4859-AF1B-7F1AEEBBE9CC}" srcOrd="0" destOrd="0" parTransId="{639B54AF-78A3-4B9E-8DEC-7E91C2CB6B29}" sibTransId="{E9EB577B-A38B-42A6-ADFA-06896E8F6E5F}"/>
    <dgm:cxn modelId="{F91CB543-C459-475F-ACF1-65B106711A74}" type="presOf" srcId="{90B3C68B-2AA6-4159-A0AA-FFBD652962B2}" destId="{95D912E7-20C5-45D2-BFD0-AC39F856A70C}" srcOrd="0" destOrd="0" presId="urn:microsoft.com/office/officeart/2005/8/layout/orgChart1"/>
    <dgm:cxn modelId="{766162F1-2D00-4DED-A792-CF4F8F71A698}" type="presOf" srcId="{B14F391A-8DE1-467D-B30A-494B0787F60C}" destId="{342625E3-BCA4-4363-8433-C62AB14DC370}" srcOrd="0" destOrd="0" presId="urn:microsoft.com/office/officeart/2005/8/layout/orgChart1"/>
    <dgm:cxn modelId="{0D6AE9B4-D8EF-44E7-A61F-35A222ECC48A}" type="presOf" srcId="{3F799660-74D7-47FC-A345-F1BB9C30CA95}" destId="{D307E0A6-AA33-40B9-8C3E-8F720DC938BF}" srcOrd="1" destOrd="0" presId="urn:microsoft.com/office/officeart/2005/8/layout/orgChart1"/>
    <dgm:cxn modelId="{A290E5C2-D455-47CF-907B-046997310343}" type="presOf" srcId="{C9DF1206-2C13-45E9-92D4-845869EA4F11}" destId="{394A7367-4056-4161-BB81-48E5F240A48D}" srcOrd="1" destOrd="0" presId="urn:microsoft.com/office/officeart/2005/8/layout/orgChart1"/>
    <dgm:cxn modelId="{0DD774F4-0572-4DB8-97C3-59D8BB21278F}" type="presOf" srcId="{69E85980-7616-41D1-A3C5-AE979E086485}" destId="{DEB17EF0-688D-4151-9946-FA2C954A9904}" srcOrd="1" destOrd="0" presId="urn:microsoft.com/office/officeart/2005/8/layout/orgChart1"/>
    <dgm:cxn modelId="{1D0485D6-5138-42A8-8951-28CF77994FF3}" srcId="{8960A1BE-2172-40A2-9660-5EEA44EE629B}" destId="{68F80057-DEAC-4C02-AE1A-0215C151A172}" srcOrd="2" destOrd="0" parTransId="{6B991C2C-C0FE-4348-9745-6D089550655E}" sibTransId="{F6D6F5A8-4769-428E-95F2-76A6C71296AD}"/>
    <dgm:cxn modelId="{C9D902B2-46DD-4492-BE10-F54575B8F98B}" type="presOf" srcId="{9DED8379-65AB-4839-8381-B4FAC6FB5663}" destId="{57E4FD52-816D-4D0C-AA62-6AC99A61B8D8}" srcOrd="1" destOrd="0" presId="urn:microsoft.com/office/officeart/2005/8/layout/orgChart1"/>
    <dgm:cxn modelId="{03529E53-18D7-4650-A890-615FDF77F992}" type="presOf" srcId="{68F80057-DEAC-4C02-AE1A-0215C151A172}" destId="{262E21F6-0749-4341-B130-E432811FD604}" srcOrd="0" destOrd="0" presId="urn:microsoft.com/office/officeart/2005/8/layout/orgChart1"/>
    <dgm:cxn modelId="{504603A1-2A0D-4C10-B84C-ADD010619EF1}" type="presOf" srcId="{A123C4D6-F063-4942-87C0-E66F1294AF4B}" destId="{6BE9B386-4CA2-44EC-9B08-206AD9ED0097}" srcOrd="0" destOrd="0" presId="urn:microsoft.com/office/officeart/2005/8/layout/orgChart1"/>
    <dgm:cxn modelId="{9A6CBEE3-ACF6-4BDF-9872-C6E6D42FD59A}" type="presOf" srcId="{6CC360CB-D18A-4B99-9C3D-EDB6BC29A253}" destId="{DF9BBB57-D597-4BCF-A42B-696538175BB4}" srcOrd="0" destOrd="0" presId="urn:microsoft.com/office/officeart/2005/8/layout/orgChart1"/>
    <dgm:cxn modelId="{0A596AF2-2D29-41FD-9C31-61580F71D502}" type="presOf" srcId="{9BDE54EE-3945-4852-A375-00796B68EA21}" destId="{87184F28-D511-4B90-9AD0-E8D421FE32D0}" srcOrd="1" destOrd="0" presId="urn:microsoft.com/office/officeart/2005/8/layout/orgChart1"/>
    <dgm:cxn modelId="{12EF2095-3E12-40CC-AFC7-0EC37CA545CE}" type="presOf" srcId="{3FA6DDC6-2579-4669-BD4D-31D05D4195BA}" destId="{50EF2818-1495-4A5C-BDFB-CC4C5B19A10B}" srcOrd="1" destOrd="0" presId="urn:microsoft.com/office/officeart/2005/8/layout/orgChart1"/>
    <dgm:cxn modelId="{D2AB27A0-FA23-4550-9AA9-32664AE20969}" srcId="{C9DF1206-2C13-45E9-92D4-845869EA4F11}" destId="{69E85980-7616-41D1-A3C5-AE979E086485}" srcOrd="2" destOrd="0" parTransId="{4BAF4DE6-8549-4AEB-893C-88DFB81788BF}" sibTransId="{24783A9F-FDFE-446C-875A-931DA9A87DC2}"/>
    <dgm:cxn modelId="{CAC37B95-3F4F-40EF-BA3D-3EE29B5A30DE}" type="presOf" srcId="{30260A2D-7B25-4B68-9C1B-480B68AE11ED}" destId="{9F5BE285-33E3-45BD-BF15-B2832F28080B}" srcOrd="1" destOrd="0" presId="urn:microsoft.com/office/officeart/2005/8/layout/orgChart1"/>
    <dgm:cxn modelId="{125D7B72-E7CF-433D-A686-1BE798D27F80}" type="presOf" srcId="{3068F8E5-FCAA-410C-88A7-9AE766296E8C}" destId="{7B3EFF73-4445-4E9F-91E4-AD1CA79E10B8}" srcOrd="0" destOrd="0" presId="urn:microsoft.com/office/officeart/2005/8/layout/orgChart1"/>
    <dgm:cxn modelId="{21FB54A9-318A-4F51-A163-2CF82677247A}" type="presOf" srcId="{9E492584-87CF-47D0-AC51-7ABC1B0D1F60}" destId="{00860F35-D106-45FF-A4FB-81303854F36A}" srcOrd="0" destOrd="0" presId="urn:microsoft.com/office/officeart/2005/8/layout/orgChart1"/>
    <dgm:cxn modelId="{4DFDBF32-98E9-4A2C-A8AD-EB02C413CC1E}" type="presOf" srcId="{E8FBC739-CED9-446D-B14F-4B2B279C1260}" destId="{C8649BB8-80F3-4344-A95B-353AD602B72D}" srcOrd="0" destOrd="0" presId="urn:microsoft.com/office/officeart/2005/8/layout/orgChart1"/>
    <dgm:cxn modelId="{DFFEB6DA-7290-4F0D-AB2E-869B63C664F6}" type="presOf" srcId="{68F80057-DEAC-4C02-AE1A-0215C151A172}" destId="{FA59D648-B65C-4A4D-B56D-86288F1452B3}" srcOrd="1" destOrd="0" presId="urn:microsoft.com/office/officeart/2005/8/layout/orgChart1"/>
    <dgm:cxn modelId="{FEA4A46B-4C79-4454-A32E-6567FA429845}" type="presOf" srcId="{91A5C726-4DA1-41FD-928E-5252C3531386}" destId="{25A25403-6745-4E04-891F-B13F37D5E39E}" srcOrd="1" destOrd="0" presId="urn:microsoft.com/office/officeart/2005/8/layout/orgChart1"/>
    <dgm:cxn modelId="{376959FD-A908-40EC-AA8D-9FCDA5DC20C6}" srcId="{751B0F5C-20DE-420D-85EC-4BFE4E79525D}" destId="{91A5C726-4DA1-41FD-928E-5252C3531386}" srcOrd="0" destOrd="0" parTransId="{E7E96025-F12C-411A-B54E-B5F9DF84A19E}" sibTransId="{6F560CE0-DEA2-438D-A683-751C7F4ABFBC}"/>
    <dgm:cxn modelId="{0A33EF7D-C918-47D5-AA1C-A883C87F0419}" type="presOf" srcId="{701F1A19-AA2D-4B9F-9782-46D0B0BB35C4}" destId="{270FBEE0-6AA0-4704-8956-8D8F3F994406}" srcOrd="0" destOrd="0" presId="urn:microsoft.com/office/officeart/2005/8/layout/orgChart1"/>
    <dgm:cxn modelId="{31C5DBB9-7256-43B8-B096-9CA47012BB04}" type="presOf" srcId="{254DA9DE-FD56-4B80-98E4-A5D3B68E885B}" destId="{F18CCF2D-F56B-4D1A-95EA-30A367D1EC9F}" srcOrd="0" destOrd="0" presId="urn:microsoft.com/office/officeart/2005/8/layout/orgChart1"/>
    <dgm:cxn modelId="{6952C9A1-E0AF-4C12-AF42-27D7F4B7C3E3}" type="presOf" srcId="{254DA9DE-FD56-4B80-98E4-A5D3B68E885B}" destId="{6FCA7BCF-DEED-450B-82C5-942D5A54581C}" srcOrd="1" destOrd="0" presId="urn:microsoft.com/office/officeart/2005/8/layout/orgChart1"/>
    <dgm:cxn modelId="{6C48D0D3-0C7D-48BB-ACB6-11BB55A5494F}" srcId="{5B91B124-3EDB-475C-BD87-427CBEE2FF98}" destId="{9DCDFD14-FD74-48D3-9FE4-B40348DC9740}" srcOrd="1" destOrd="0" parTransId="{9C9FF87D-5DA9-4490-8674-96B6D48B71B8}" sibTransId="{CE7BFF12-0F71-4A56-AA3D-881F40E3A62C}"/>
    <dgm:cxn modelId="{ADB975E1-F29C-4826-A1C0-19E0E0545DEF}" type="presOf" srcId="{A128DEFB-08B6-48F7-B05E-9EABA1A44A35}" destId="{01762094-08DC-4ADE-8EA9-17059C9DE2D0}" srcOrd="1" destOrd="0" presId="urn:microsoft.com/office/officeart/2005/8/layout/orgChart1"/>
    <dgm:cxn modelId="{478AC0E6-35AB-4A4F-A951-DD574F854B00}" type="presOf" srcId="{5B91B124-3EDB-475C-BD87-427CBEE2FF98}" destId="{0C6EB58B-B038-4699-AB13-FFEE57B78034}" srcOrd="0" destOrd="0" presId="urn:microsoft.com/office/officeart/2005/8/layout/orgChart1"/>
    <dgm:cxn modelId="{D74451C8-D0F9-4D2B-A7BA-0258AF861DAA}" type="presOf" srcId="{56680C78-835D-4053-ABBB-855DFDCCDE19}" destId="{6785A63A-C13A-4488-B243-330D7A40F7F6}" srcOrd="1" destOrd="0" presId="urn:microsoft.com/office/officeart/2005/8/layout/orgChart1"/>
    <dgm:cxn modelId="{BEA2DDC4-770C-4EE1-A0AA-084F22C0A0AC}" type="presOf" srcId="{E420EF71-19F8-448A-9C42-1F5BF9924A53}" destId="{3D75EA2E-BFD8-4D6C-A3FB-57D12262D061}" srcOrd="0" destOrd="0" presId="urn:microsoft.com/office/officeart/2005/8/layout/orgChart1"/>
    <dgm:cxn modelId="{28FA6D08-BBEF-453D-B1C9-C4CCF8BECECB}" type="presOf" srcId="{5F0E1E8E-768C-48E8-B05A-68CEF943C19F}" destId="{F653E96A-2804-4D62-8572-CADEEEB58D46}" srcOrd="0" destOrd="0" presId="urn:microsoft.com/office/officeart/2005/8/layout/orgChart1"/>
    <dgm:cxn modelId="{4A9030CE-8DC8-4B67-87D9-C02E7711D260}" srcId="{C3E9A307-CC60-40FC-8B1F-5308BDFC4D45}" destId="{2CDFA5D8-E48C-4910-ADFB-6308A82EF005}" srcOrd="5" destOrd="0" parTransId="{7B0E03DA-2D51-461F-850D-3A2C0C37147B}" sibTransId="{B6F97887-6A28-4AE3-AF7B-B629FD26006F}"/>
    <dgm:cxn modelId="{D7905029-AA1B-49F1-BD30-55261EF29B25}" srcId="{C9DF1206-2C13-45E9-92D4-845869EA4F11}" destId="{9E492584-87CF-47D0-AC51-7ABC1B0D1F60}" srcOrd="4" destOrd="0" parTransId="{AED5CB8B-B8CB-4778-8BD5-73F5B18C3B30}" sibTransId="{74029F9A-7F1E-4BBB-A4E0-91496D32C8AF}"/>
    <dgm:cxn modelId="{B5CCAB11-8BD8-4EF9-A9D0-92389D760725}" type="presOf" srcId="{5F7D7930-63DD-4F4A-9618-1B810DA86551}" destId="{F7240596-690D-4406-ADDA-F6F5D9746CEA}" srcOrd="0" destOrd="0" presId="urn:microsoft.com/office/officeart/2005/8/layout/orgChart1"/>
    <dgm:cxn modelId="{229D1434-C70F-4F2A-A2F3-3B510B21FF1B}" srcId="{8960A1BE-2172-40A2-9660-5EEA44EE629B}" destId="{87A0796A-2009-4411-9D29-83BEA9810E93}" srcOrd="4" destOrd="0" parTransId="{07C03D6E-8E54-4D7E-86C3-FD55FAF905C1}" sibTransId="{24796165-2DA6-4763-929C-7846A3E13483}"/>
    <dgm:cxn modelId="{13339447-36D7-4F68-ADBC-2F339525FF61}" type="presOf" srcId="{639B54AF-78A3-4B9E-8DEC-7E91C2CB6B29}" destId="{7E3D84F3-00ED-4BCF-8429-33324D643668}" srcOrd="0" destOrd="0" presId="urn:microsoft.com/office/officeart/2005/8/layout/orgChart1"/>
    <dgm:cxn modelId="{202F68D2-3538-4B87-989B-16B506CA3863}" type="presOf" srcId="{31504482-6EF6-4923-B2B5-41F02EA3176F}" destId="{F48610CF-BC20-453C-903A-3A027758BE49}" srcOrd="0" destOrd="0" presId="urn:microsoft.com/office/officeart/2005/8/layout/orgChart1"/>
    <dgm:cxn modelId="{2319B71B-D9C9-469A-BB79-E13F25B95654}" type="presParOf" srcId="{125D1C61-5C23-45CD-8C28-38CD25BAFFCE}" destId="{5A7E60A3-B4B4-458C-B8DB-500A0569BFB2}" srcOrd="0" destOrd="0" presId="urn:microsoft.com/office/officeart/2005/8/layout/orgChart1"/>
    <dgm:cxn modelId="{13434AF2-3429-41CE-A8C3-82397E8123B6}" type="presParOf" srcId="{5A7E60A3-B4B4-458C-B8DB-500A0569BFB2}" destId="{0378D14A-FF1C-4487-8EF3-4911133ED14B}" srcOrd="0" destOrd="0" presId="urn:microsoft.com/office/officeart/2005/8/layout/orgChart1"/>
    <dgm:cxn modelId="{07E244DF-35DB-4F16-BB94-A5D1F6C27807}" type="presParOf" srcId="{0378D14A-FF1C-4487-8EF3-4911133ED14B}" destId="{25E8FFF0-DE1D-418E-987D-1801235E5D97}" srcOrd="0" destOrd="0" presId="urn:microsoft.com/office/officeart/2005/8/layout/orgChart1"/>
    <dgm:cxn modelId="{AD11EB1F-59D3-46E3-9157-C59CC43CC4E7}" type="presParOf" srcId="{0378D14A-FF1C-4487-8EF3-4911133ED14B}" destId="{25A25403-6745-4E04-891F-B13F37D5E39E}" srcOrd="1" destOrd="0" presId="urn:microsoft.com/office/officeart/2005/8/layout/orgChart1"/>
    <dgm:cxn modelId="{C102D96D-15BC-4643-8070-9B0EEA766388}" type="presParOf" srcId="{5A7E60A3-B4B4-458C-B8DB-500A0569BFB2}" destId="{C139C701-8952-4151-8132-F5AA1053A8CC}" srcOrd="1" destOrd="0" presId="urn:microsoft.com/office/officeart/2005/8/layout/orgChart1"/>
    <dgm:cxn modelId="{352F4289-538A-41F0-B5A3-6A6D58880C87}" type="presParOf" srcId="{C139C701-8952-4151-8132-F5AA1053A8CC}" destId="{B3D4565A-8D31-40DA-AB2A-5C22BCCFD57C}" srcOrd="0" destOrd="0" presId="urn:microsoft.com/office/officeart/2005/8/layout/orgChart1"/>
    <dgm:cxn modelId="{028CE4A5-FCE1-4F34-B1B1-F3E97AC8F305}" type="presParOf" srcId="{C139C701-8952-4151-8132-F5AA1053A8CC}" destId="{D9DF4911-DCB0-4D11-AFC3-4BE6A1F0CDA0}" srcOrd="1" destOrd="0" presId="urn:microsoft.com/office/officeart/2005/8/layout/orgChart1"/>
    <dgm:cxn modelId="{B0DFB066-62A5-45EF-8B4E-F3847207C0AD}" type="presParOf" srcId="{D9DF4911-DCB0-4D11-AFC3-4BE6A1F0CDA0}" destId="{4BEF51A0-F31F-41F5-9B38-1D8F1C0DAB2C}" srcOrd="0" destOrd="0" presId="urn:microsoft.com/office/officeart/2005/8/layout/orgChart1"/>
    <dgm:cxn modelId="{7B9D5156-B6FA-4E51-AE56-827AA1BE8D7A}" type="presParOf" srcId="{4BEF51A0-F31F-41F5-9B38-1D8F1C0DAB2C}" destId="{95D912E7-20C5-45D2-BFD0-AC39F856A70C}" srcOrd="0" destOrd="0" presId="urn:microsoft.com/office/officeart/2005/8/layout/orgChart1"/>
    <dgm:cxn modelId="{DFED2C42-2966-40B7-8CBB-2CCEF9FEC792}" type="presParOf" srcId="{4BEF51A0-F31F-41F5-9B38-1D8F1C0DAB2C}" destId="{B1AD877C-E2D1-409D-9D49-3A4030AC6494}" srcOrd="1" destOrd="0" presId="urn:microsoft.com/office/officeart/2005/8/layout/orgChart1"/>
    <dgm:cxn modelId="{3176E650-A157-4017-A85F-F6CC7BAAD0BB}" type="presParOf" srcId="{D9DF4911-DCB0-4D11-AFC3-4BE6A1F0CDA0}" destId="{9282A475-A112-431F-A28A-90023CBC5EC7}" srcOrd="1" destOrd="0" presId="urn:microsoft.com/office/officeart/2005/8/layout/orgChart1"/>
    <dgm:cxn modelId="{DAC74889-2A38-4C28-B252-B12B7C959E60}" type="presParOf" srcId="{9282A475-A112-431F-A28A-90023CBC5EC7}" destId="{02714CEB-6C55-42B2-AB86-92AEEF96FCB6}" srcOrd="0" destOrd="0" presId="urn:microsoft.com/office/officeart/2005/8/layout/orgChart1"/>
    <dgm:cxn modelId="{2F412092-D925-4A16-AC2F-940B60886502}" type="presParOf" srcId="{9282A475-A112-431F-A28A-90023CBC5EC7}" destId="{DFEBA0FD-B10A-4B31-9EFB-A382F4D66815}" srcOrd="1" destOrd="0" presId="urn:microsoft.com/office/officeart/2005/8/layout/orgChart1"/>
    <dgm:cxn modelId="{B1DABE37-C0DF-4D30-AEB4-068A9219722A}" type="presParOf" srcId="{DFEBA0FD-B10A-4B31-9EFB-A382F4D66815}" destId="{4ED515C3-AD83-43EA-AFCD-22E1539F0375}" srcOrd="0" destOrd="0" presId="urn:microsoft.com/office/officeart/2005/8/layout/orgChart1"/>
    <dgm:cxn modelId="{296C6C9E-304F-454E-A6C9-1955C3E0A330}" type="presParOf" srcId="{4ED515C3-AD83-43EA-AFCD-22E1539F0375}" destId="{93C5A841-E5A0-40F1-9EB4-BD5F4C1E0F08}" srcOrd="0" destOrd="0" presId="urn:microsoft.com/office/officeart/2005/8/layout/orgChart1"/>
    <dgm:cxn modelId="{980BDD98-57D6-4F2F-9695-F28F51122A99}" type="presParOf" srcId="{4ED515C3-AD83-43EA-AFCD-22E1539F0375}" destId="{3549CA68-9389-4E88-8F4E-0B57520BD3A5}" srcOrd="1" destOrd="0" presId="urn:microsoft.com/office/officeart/2005/8/layout/orgChart1"/>
    <dgm:cxn modelId="{67490140-EDEC-4EF5-9E7C-9F990AEEFB49}" type="presParOf" srcId="{DFEBA0FD-B10A-4B31-9EFB-A382F4D66815}" destId="{50A5352D-3E03-4E9D-B4A4-0ED85947FC3F}" srcOrd="1" destOrd="0" presId="urn:microsoft.com/office/officeart/2005/8/layout/orgChart1"/>
    <dgm:cxn modelId="{26A7E4EE-F291-4FE7-BEDC-DB889788BCB7}" type="presParOf" srcId="{DFEBA0FD-B10A-4B31-9EFB-A382F4D66815}" destId="{8F2B0956-E397-4D27-B0B0-BDB087625F68}" srcOrd="2" destOrd="0" presId="urn:microsoft.com/office/officeart/2005/8/layout/orgChart1"/>
    <dgm:cxn modelId="{8C24C2C8-9821-4DE5-8C2F-1D7C0031F8F5}" type="presParOf" srcId="{9282A475-A112-431F-A28A-90023CBC5EC7}" destId="{89A327D0-9216-4432-B846-CF92D8421306}" srcOrd="2" destOrd="0" presId="urn:microsoft.com/office/officeart/2005/8/layout/orgChart1"/>
    <dgm:cxn modelId="{FD71F36F-BCEC-4887-B5B2-1ECE73964ACD}" type="presParOf" srcId="{9282A475-A112-431F-A28A-90023CBC5EC7}" destId="{392A03F2-DACA-4627-A3CB-C60FBF5768E8}" srcOrd="3" destOrd="0" presId="urn:microsoft.com/office/officeart/2005/8/layout/orgChart1"/>
    <dgm:cxn modelId="{EEA9094A-45EC-4E92-BBDA-2EDD320C651B}" type="presParOf" srcId="{392A03F2-DACA-4627-A3CB-C60FBF5768E8}" destId="{C880C607-E2B1-4667-A10E-F70406E90F27}" srcOrd="0" destOrd="0" presId="urn:microsoft.com/office/officeart/2005/8/layout/orgChart1"/>
    <dgm:cxn modelId="{6D960AC7-2A89-4216-9878-115597D112F3}" type="presParOf" srcId="{C880C607-E2B1-4667-A10E-F70406E90F27}" destId="{B3C62A13-97FF-4369-A831-14A2AAB802D9}" srcOrd="0" destOrd="0" presId="urn:microsoft.com/office/officeart/2005/8/layout/orgChart1"/>
    <dgm:cxn modelId="{96A7C392-EEB6-4946-B692-EFC73A099239}" type="presParOf" srcId="{C880C607-E2B1-4667-A10E-F70406E90F27}" destId="{57E4FD52-816D-4D0C-AA62-6AC99A61B8D8}" srcOrd="1" destOrd="0" presId="urn:microsoft.com/office/officeart/2005/8/layout/orgChart1"/>
    <dgm:cxn modelId="{7C303F2B-BEAF-4E06-AC12-E06BAD7D9201}" type="presParOf" srcId="{392A03F2-DACA-4627-A3CB-C60FBF5768E8}" destId="{8B5F742C-D9A3-4C3F-A2D9-A86CA25C7C20}" srcOrd="1" destOrd="0" presId="urn:microsoft.com/office/officeart/2005/8/layout/orgChart1"/>
    <dgm:cxn modelId="{22ABDE2C-0701-476E-ABF4-C058CC6E3F5F}" type="presParOf" srcId="{8B5F742C-D9A3-4C3F-A2D9-A86CA25C7C20}" destId="{5CAA25DC-0279-4580-BBCE-AC10E8DB285B}" srcOrd="0" destOrd="0" presId="urn:microsoft.com/office/officeart/2005/8/layout/orgChart1"/>
    <dgm:cxn modelId="{9E803561-2574-4185-AE58-CC4B201F72E6}" type="presParOf" srcId="{8B5F742C-D9A3-4C3F-A2D9-A86CA25C7C20}" destId="{973C51E6-E983-4E1A-BDCF-D587CB1EEB9B}" srcOrd="1" destOrd="0" presId="urn:microsoft.com/office/officeart/2005/8/layout/orgChart1"/>
    <dgm:cxn modelId="{5259A4F1-D29D-4034-A8A3-E350FB9C2860}" type="presParOf" srcId="{973C51E6-E983-4E1A-BDCF-D587CB1EEB9B}" destId="{6CD62433-5027-47D1-97C2-3F8F8264C629}" srcOrd="0" destOrd="0" presId="urn:microsoft.com/office/officeart/2005/8/layout/orgChart1"/>
    <dgm:cxn modelId="{D16CD5F8-1929-48D1-BF8D-E77520D3243A}" type="presParOf" srcId="{6CD62433-5027-47D1-97C2-3F8F8264C629}" destId="{D4CB5618-222F-457D-BC30-B674E5FD3FAB}" srcOrd="0" destOrd="0" presId="urn:microsoft.com/office/officeart/2005/8/layout/orgChart1"/>
    <dgm:cxn modelId="{3C03432B-6AA9-4916-84C6-C5229EA5C230}" type="presParOf" srcId="{6CD62433-5027-47D1-97C2-3F8F8264C629}" destId="{7F422EAB-51A6-412C-B197-1D6E7B156711}" srcOrd="1" destOrd="0" presId="urn:microsoft.com/office/officeart/2005/8/layout/orgChart1"/>
    <dgm:cxn modelId="{27B81473-0B34-40F0-A1F4-DC3AEAF29C17}" type="presParOf" srcId="{973C51E6-E983-4E1A-BDCF-D587CB1EEB9B}" destId="{AE069F21-9DCC-46DE-A800-BB1B22935AD8}" srcOrd="1" destOrd="0" presId="urn:microsoft.com/office/officeart/2005/8/layout/orgChart1"/>
    <dgm:cxn modelId="{3424CF1A-F95D-4FE6-B1D4-AC3CC375C062}" type="presParOf" srcId="{AE069F21-9DCC-46DE-A800-BB1B22935AD8}" destId="{4548059A-61FC-485A-9BF7-E5B094DFBD21}" srcOrd="0" destOrd="0" presId="urn:microsoft.com/office/officeart/2005/8/layout/orgChart1"/>
    <dgm:cxn modelId="{C415AD44-5EA0-42BC-8C38-808334C5EC8B}" type="presParOf" srcId="{AE069F21-9DCC-46DE-A800-BB1B22935AD8}" destId="{6A78B6F4-C141-4EE8-B196-100AA552D8A0}" srcOrd="1" destOrd="0" presId="urn:microsoft.com/office/officeart/2005/8/layout/orgChart1"/>
    <dgm:cxn modelId="{5C79E7E6-B1B1-41FD-BA54-926DC105A1F0}" type="presParOf" srcId="{6A78B6F4-C141-4EE8-B196-100AA552D8A0}" destId="{93A15136-D6F6-4453-8C4B-6CF0AFB6F54C}" srcOrd="0" destOrd="0" presId="urn:microsoft.com/office/officeart/2005/8/layout/orgChart1"/>
    <dgm:cxn modelId="{B52D4005-F868-4D1E-8D41-202E9B426942}" type="presParOf" srcId="{93A15136-D6F6-4453-8C4B-6CF0AFB6F54C}" destId="{9CC6899B-CA1B-42D3-B1BB-2B382C799E3B}" srcOrd="0" destOrd="0" presId="urn:microsoft.com/office/officeart/2005/8/layout/orgChart1"/>
    <dgm:cxn modelId="{A760E436-C991-4988-968C-F320E35FB576}" type="presParOf" srcId="{93A15136-D6F6-4453-8C4B-6CF0AFB6F54C}" destId="{D82C5469-A533-41EF-B2D3-6D59DEDEEFD9}" srcOrd="1" destOrd="0" presId="urn:microsoft.com/office/officeart/2005/8/layout/orgChart1"/>
    <dgm:cxn modelId="{9CF3D914-FD0F-4397-9EF7-C0320BCCD5A8}" type="presParOf" srcId="{6A78B6F4-C141-4EE8-B196-100AA552D8A0}" destId="{CD496678-599A-4C89-B18E-531F3C2F8909}" srcOrd="1" destOrd="0" presId="urn:microsoft.com/office/officeart/2005/8/layout/orgChart1"/>
    <dgm:cxn modelId="{9F7A1E24-5AF7-42E8-B4DB-DDFF8C8E8E5C}" type="presParOf" srcId="{6A78B6F4-C141-4EE8-B196-100AA552D8A0}" destId="{A51E6327-0460-4603-B58A-76A67DB8E790}" srcOrd="2" destOrd="0" presId="urn:microsoft.com/office/officeart/2005/8/layout/orgChart1"/>
    <dgm:cxn modelId="{B1C19D2C-FB96-44F8-B216-D2CD74272856}" type="presParOf" srcId="{AE069F21-9DCC-46DE-A800-BB1B22935AD8}" destId="{D70DF42D-6361-4C9C-8C9C-6C1273690FA4}" srcOrd="2" destOrd="0" presId="urn:microsoft.com/office/officeart/2005/8/layout/orgChart1"/>
    <dgm:cxn modelId="{488A269A-31EE-4B21-B6D0-DE5F52786AB0}" type="presParOf" srcId="{AE069F21-9DCC-46DE-A800-BB1B22935AD8}" destId="{A71B43F0-BB9B-4203-BBA9-7797BACC1A75}" srcOrd="3" destOrd="0" presId="urn:microsoft.com/office/officeart/2005/8/layout/orgChart1"/>
    <dgm:cxn modelId="{6DC12269-3F0E-486C-AFAB-7B0C8448F333}" type="presParOf" srcId="{A71B43F0-BB9B-4203-BBA9-7797BACC1A75}" destId="{2259417A-D700-4897-936E-96184E6657E1}" srcOrd="0" destOrd="0" presId="urn:microsoft.com/office/officeart/2005/8/layout/orgChart1"/>
    <dgm:cxn modelId="{2E90AF81-397F-4350-84CC-150AF1704E69}" type="presParOf" srcId="{2259417A-D700-4897-936E-96184E6657E1}" destId="{E6785B03-97FC-4131-B123-CBAEF25E33EF}" srcOrd="0" destOrd="0" presId="urn:microsoft.com/office/officeart/2005/8/layout/orgChart1"/>
    <dgm:cxn modelId="{D2AD3316-242C-497D-A292-8EFC0A7897A2}" type="presParOf" srcId="{2259417A-D700-4897-936E-96184E6657E1}" destId="{A5703F16-D454-443E-B680-7DC0D58F73C6}" srcOrd="1" destOrd="0" presId="urn:microsoft.com/office/officeart/2005/8/layout/orgChart1"/>
    <dgm:cxn modelId="{BF55C9DF-2069-41F6-B0AD-277AE048B13F}" type="presParOf" srcId="{A71B43F0-BB9B-4203-BBA9-7797BACC1A75}" destId="{60A9FE29-01DB-40CC-A224-0EA481E0CBB8}" srcOrd="1" destOrd="0" presId="urn:microsoft.com/office/officeart/2005/8/layout/orgChart1"/>
    <dgm:cxn modelId="{CDB3AB9B-B96F-409F-80D6-63B6481F6721}" type="presParOf" srcId="{A71B43F0-BB9B-4203-BBA9-7797BACC1A75}" destId="{98A0F53C-4669-4D7B-8CEA-70730CE3E2EA}" srcOrd="2" destOrd="0" presId="urn:microsoft.com/office/officeart/2005/8/layout/orgChart1"/>
    <dgm:cxn modelId="{F68E7993-B9F2-4056-BA83-04DDAD8497D9}" type="presParOf" srcId="{AE069F21-9DCC-46DE-A800-BB1B22935AD8}" destId="{C5744002-6D5D-4CF8-B708-0E0DA394788E}" srcOrd="4" destOrd="0" presId="urn:microsoft.com/office/officeart/2005/8/layout/orgChart1"/>
    <dgm:cxn modelId="{B5C884F7-832F-47C8-8593-77AAACB26F17}" type="presParOf" srcId="{AE069F21-9DCC-46DE-A800-BB1B22935AD8}" destId="{3182694F-BCA0-4245-8CBA-B325EF7EF1E8}" srcOrd="5" destOrd="0" presId="urn:microsoft.com/office/officeart/2005/8/layout/orgChart1"/>
    <dgm:cxn modelId="{C35D4C65-3EC5-4AB3-B2A1-786CAD12CECC}" type="presParOf" srcId="{3182694F-BCA0-4245-8CBA-B325EF7EF1E8}" destId="{FFBB0E85-0159-438E-81B3-F02B21ABEB0A}" srcOrd="0" destOrd="0" presId="urn:microsoft.com/office/officeart/2005/8/layout/orgChart1"/>
    <dgm:cxn modelId="{0DAF8771-BA3B-41A7-ADCD-087AE304DDA9}" type="presParOf" srcId="{FFBB0E85-0159-438E-81B3-F02B21ABEB0A}" destId="{916E8DC3-EAD0-4302-BB1B-B99FDC405018}" srcOrd="0" destOrd="0" presId="urn:microsoft.com/office/officeart/2005/8/layout/orgChart1"/>
    <dgm:cxn modelId="{47EEEE12-F1A2-446E-B93E-DFA8A7C9B993}" type="presParOf" srcId="{FFBB0E85-0159-438E-81B3-F02B21ABEB0A}" destId="{3BAA9E84-D60A-4361-BE65-BBBB69624B56}" srcOrd="1" destOrd="0" presId="urn:microsoft.com/office/officeart/2005/8/layout/orgChart1"/>
    <dgm:cxn modelId="{52E7973C-782B-4C45-832E-DDE92C7F52A3}" type="presParOf" srcId="{3182694F-BCA0-4245-8CBA-B325EF7EF1E8}" destId="{ED8C8EE8-C23A-453F-9BB1-C324897434AC}" srcOrd="1" destOrd="0" presId="urn:microsoft.com/office/officeart/2005/8/layout/orgChart1"/>
    <dgm:cxn modelId="{ABC06BA4-8399-467D-BCC7-2D2EE1B462D0}" type="presParOf" srcId="{3182694F-BCA0-4245-8CBA-B325EF7EF1E8}" destId="{3061CFEB-86A0-40BF-9DE2-6DCC54C0FB56}" srcOrd="2" destOrd="0" presId="urn:microsoft.com/office/officeart/2005/8/layout/orgChart1"/>
    <dgm:cxn modelId="{52EF7AEA-0B73-4136-AC0E-28A561008F4C}" type="presParOf" srcId="{AE069F21-9DCC-46DE-A800-BB1B22935AD8}" destId="{91D7DEBC-3600-422A-A5B2-DE17AFE46963}" srcOrd="6" destOrd="0" presId="urn:microsoft.com/office/officeart/2005/8/layout/orgChart1"/>
    <dgm:cxn modelId="{1A63DBF2-A039-4F74-8D5E-E5F973282347}" type="presParOf" srcId="{AE069F21-9DCC-46DE-A800-BB1B22935AD8}" destId="{87E321EB-219D-40C3-9C99-E7308FA086A8}" srcOrd="7" destOrd="0" presId="urn:microsoft.com/office/officeart/2005/8/layout/orgChart1"/>
    <dgm:cxn modelId="{9E043E86-8922-4D56-B62A-08F016F800BC}" type="presParOf" srcId="{87E321EB-219D-40C3-9C99-E7308FA086A8}" destId="{3F28B56B-3967-46AB-B80D-A38CC5752424}" srcOrd="0" destOrd="0" presId="urn:microsoft.com/office/officeart/2005/8/layout/orgChart1"/>
    <dgm:cxn modelId="{5F76FBD9-3F84-4148-B9DA-69F1D95B004C}" type="presParOf" srcId="{3F28B56B-3967-46AB-B80D-A38CC5752424}" destId="{791C3F76-0645-4A7F-AFEB-BD23E3950A41}" srcOrd="0" destOrd="0" presId="urn:microsoft.com/office/officeart/2005/8/layout/orgChart1"/>
    <dgm:cxn modelId="{5DED9A1E-479D-4C98-ACCD-BA4DB9C2E45E}" type="presParOf" srcId="{3F28B56B-3967-46AB-B80D-A38CC5752424}" destId="{7B7554D5-D2B5-446E-B8DD-82A310A01892}" srcOrd="1" destOrd="0" presId="urn:microsoft.com/office/officeart/2005/8/layout/orgChart1"/>
    <dgm:cxn modelId="{2CEE785F-4947-4D8A-A8D6-E0460320008B}" type="presParOf" srcId="{87E321EB-219D-40C3-9C99-E7308FA086A8}" destId="{44E0146E-F436-496C-92AE-6C79B704AE21}" srcOrd="1" destOrd="0" presId="urn:microsoft.com/office/officeart/2005/8/layout/orgChart1"/>
    <dgm:cxn modelId="{D75F227C-5DDF-4658-AE87-87C4B1A6AB39}" type="presParOf" srcId="{87E321EB-219D-40C3-9C99-E7308FA086A8}" destId="{0BBB77BC-022F-42FC-9EBE-B8679D856F18}" srcOrd="2" destOrd="0" presId="urn:microsoft.com/office/officeart/2005/8/layout/orgChart1"/>
    <dgm:cxn modelId="{B862C23A-6863-4D65-ACA4-CE6B03C6CC58}" type="presParOf" srcId="{AE069F21-9DCC-46DE-A800-BB1B22935AD8}" destId="{9508B103-C703-46A3-864B-4D55E050C768}" srcOrd="8" destOrd="0" presId="urn:microsoft.com/office/officeart/2005/8/layout/orgChart1"/>
    <dgm:cxn modelId="{2E9AA0BF-41BB-44A5-93E1-77D7BB2CC233}" type="presParOf" srcId="{AE069F21-9DCC-46DE-A800-BB1B22935AD8}" destId="{C32457FD-22FE-4B7D-A765-F624693CEC29}" srcOrd="9" destOrd="0" presId="urn:microsoft.com/office/officeart/2005/8/layout/orgChart1"/>
    <dgm:cxn modelId="{852CCECF-8733-476C-ADB1-B528474D5601}" type="presParOf" srcId="{C32457FD-22FE-4B7D-A765-F624693CEC29}" destId="{5B0955C9-889A-42E9-BEBF-834604A9BD69}" srcOrd="0" destOrd="0" presId="urn:microsoft.com/office/officeart/2005/8/layout/orgChart1"/>
    <dgm:cxn modelId="{444D50A5-B91F-44BF-84FC-589BF042640D}" type="presParOf" srcId="{5B0955C9-889A-42E9-BEBF-834604A9BD69}" destId="{663DE3C8-6B0F-4813-95CE-1B7165C526B4}" srcOrd="0" destOrd="0" presId="urn:microsoft.com/office/officeart/2005/8/layout/orgChart1"/>
    <dgm:cxn modelId="{AA4919D3-BE19-46A5-A485-5A93EC4C0AF6}" type="presParOf" srcId="{5B0955C9-889A-42E9-BEBF-834604A9BD69}" destId="{38AB4581-4625-43C1-8D4B-24A89C4654E5}" srcOrd="1" destOrd="0" presId="urn:microsoft.com/office/officeart/2005/8/layout/orgChart1"/>
    <dgm:cxn modelId="{BB5C70F5-6196-4664-B304-D5BB37F280A3}" type="presParOf" srcId="{C32457FD-22FE-4B7D-A765-F624693CEC29}" destId="{CA1F5294-1C4B-4C2C-AA41-730ABBBC1D23}" srcOrd="1" destOrd="0" presId="urn:microsoft.com/office/officeart/2005/8/layout/orgChart1"/>
    <dgm:cxn modelId="{80A36285-C984-4ADB-9C06-D67000F334F4}" type="presParOf" srcId="{C32457FD-22FE-4B7D-A765-F624693CEC29}" destId="{E81DBB6E-5A57-4E38-B9A3-A857141DF424}" srcOrd="2" destOrd="0" presId="urn:microsoft.com/office/officeart/2005/8/layout/orgChart1"/>
    <dgm:cxn modelId="{733FF139-1865-4AE9-92BF-5C910BAF201C}" type="presParOf" srcId="{AE069F21-9DCC-46DE-A800-BB1B22935AD8}" destId="{FB99E4F6-1BA1-4FBA-9A84-79F96CD77FA0}" srcOrd="10" destOrd="0" presId="urn:microsoft.com/office/officeart/2005/8/layout/orgChart1"/>
    <dgm:cxn modelId="{750E64EB-386D-4EB3-9476-2EEE086371BF}" type="presParOf" srcId="{AE069F21-9DCC-46DE-A800-BB1B22935AD8}" destId="{FAA75384-AC59-4A0F-B6FC-96969B1806A1}" srcOrd="11" destOrd="0" presId="urn:microsoft.com/office/officeart/2005/8/layout/orgChart1"/>
    <dgm:cxn modelId="{A2EEFB5E-A65A-461C-A1C4-C60EA9DE7BC6}" type="presParOf" srcId="{FAA75384-AC59-4A0F-B6FC-96969B1806A1}" destId="{10EA2615-F01B-49F4-8211-944C5D2C1C17}" srcOrd="0" destOrd="0" presId="urn:microsoft.com/office/officeart/2005/8/layout/orgChart1"/>
    <dgm:cxn modelId="{4AA82642-028F-44B4-9DDE-E3CF9295FEBB}" type="presParOf" srcId="{10EA2615-F01B-49F4-8211-944C5D2C1C17}" destId="{D8C2AB15-5E99-4407-95D3-F1B4D66F02DF}" srcOrd="0" destOrd="0" presId="urn:microsoft.com/office/officeart/2005/8/layout/orgChart1"/>
    <dgm:cxn modelId="{A83E5550-9DE5-4AA0-A27F-C31676CA9902}" type="presParOf" srcId="{10EA2615-F01B-49F4-8211-944C5D2C1C17}" destId="{C1556BD0-BD8F-41BC-9F1A-A71F183BADE9}" srcOrd="1" destOrd="0" presId="urn:microsoft.com/office/officeart/2005/8/layout/orgChart1"/>
    <dgm:cxn modelId="{43131B31-D340-40B1-B0DA-527CB73A6D12}" type="presParOf" srcId="{FAA75384-AC59-4A0F-B6FC-96969B1806A1}" destId="{1B7A768C-33A1-4CEC-BAE5-5F412259265D}" srcOrd="1" destOrd="0" presId="urn:microsoft.com/office/officeart/2005/8/layout/orgChart1"/>
    <dgm:cxn modelId="{1EE4AD1A-AAFF-4E6B-9E13-40EF5829B732}" type="presParOf" srcId="{FAA75384-AC59-4A0F-B6FC-96969B1806A1}" destId="{A87A8001-BBE7-4866-BCBD-E150FF5C895C}" srcOrd="2" destOrd="0" presId="urn:microsoft.com/office/officeart/2005/8/layout/orgChart1"/>
    <dgm:cxn modelId="{AC2E692F-749F-4F63-A5F0-CD721BBD3DAD}" type="presParOf" srcId="{973C51E6-E983-4E1A-BDCF-D587CB1EEB9B}" destId="{70F4977F-960A-4FE1-8843-9C90C669C6B7}" srcOrd="2" destOrd="0" presId="urn:microsoft.com/office/officeart/2005/8/layout/orgChart1"/>
    <dgm:cxn modelId="{FAC384A6-AAB9-4308-A335-B00AF432B2C0}" type="presParOf" srcId="{8B5F742C-D9A3-4C3F-A2D9-A86CA25C7C20}" destId="{6E2F6462-5EB2-4BBE-A591-0D454C46D7DB}" srcOrd="2" destOrd="0" presId="urn:microsoft.com/office/officeart/2005/8/layout/orgChart1"/>
    <dgm:cxn modelId="{4B6B619E-C5E6-4584-963E-655E58E70B81}" type="presParOf" srcId="{8B5F742C-D9A3-4C3F-A2D9-A86CA25C7C20}" destId="{1F14DE9C-B7A0-4FFB-9FFA-20F7F2DDA1ED}" srcOrd="3" destOrd="0" presId="urn:microsoft.com/office/officeart/2005/8/layout/orgChart1"/>
    <dgm:cxn modelId="{E91F7BDF-CB49-4D52-BF46-73A8E5D1B21E}" type="presParOf" srcId="{1F14DE9C-B7A0-4FFB-9FFA-20F7F2DDA1ED}" destId="{A27E8888-8453-4A52-93A5-9585367F5C6C}" srcOrd="0" destOrd="0" presId="urn:microsoft.com/office/officeart/2005/8/layout/orgChart1"/>
    <dgm:cxn modelId="{E43FA00A-A1F1-4F2E-BB76-D9216BEDEBFA}" type="presParOf" srcId="{A27E8888-8453-4A52-93A5-9585367F5C6C}" destId="{D2C455B8-A860-426A-AB88-25773B767F3A}" srcOrd="0" destOrd="0" presId="urn:microsoft.com/office/officeart/2005/8/layout/orgChart1"/>
    <dgm:cxn modelId="{4316450D-4A8F-4C07-A0B7-B8A98E2C2B16}" type="presParOf" srcId="{A27E8888-8453-4A52-93A5-9585367F5C6C}" destId="{28CCA4D4-2CB0-4D69-90E0-270AE2A96BA2}" srcOrd="1" destOrd="0" presId="urn:microsoft.com/office/officeart/2005/8/layout/orgChart1"/>
    <dgm:cxn modelId="{F75DFCC6-FB33-4965-B228-AD84A628DC2C}" type="presParOf" srcId="{1F14DE9C-B7A0-4FFB-9FFA-20F7F2DDA1ED}" destId="{FDE52E8D-B3FB-414F-BCE6-337C0FF1B2E8}" srcOrd="1" destOrd="0" presId="urn:microsoft.com/office/officeart/2005/8/layout/orgChart1"/>
    <dgm:cxn modelId="{CBB4ADEF-C896-46AD-8072-AD1994FE750A}" type="presParOf" srcId="{FDE52E8D-B3FB-414F-BCE6-337C0FF1B2E8}" destId="{F653E96A-2804-4D62-8572-CADEEEB58D46}" srcOrd="0" destOrd="0" presId="urn:microsoft.com/office/officeart/2005/8/layout/orgChart1"/>
    <dgm:cxn modelId="{AE75898D-B4A1-4300-B567-5519113B4976}" type="presParOf" srcId="{FDE52E8D-B3FB-414F-BCE6-337C0FF1B2E8}" destId="{4991F876-9BA3-49E2-A9A8-5B874214D8D6}" srcOrd="1" destOrd="0" presId="urn:microsoft.com/office/officeart/2005/8/layout/orgChart1"/>
    <dgm:cxn modelId="{EAE088AE-B135-4605-A6BB-1192D0C126BE}" type="presParOf" srcId="{4991F876-9BA3-49E2-A9A8-5B874214D8D6}" destId="{A43B4385-A445-4AD2-A8DC-55E5E17FFD75}" srcOrd="0" destOrd="0" presId="urn:microsoft.com/office/officeart/2005/8/layout/orgChart1"/>
    <dgm:cxn modelId="{6826CE61-BAC1-4710-8CE4-62D12174F684}" type="presParOf" srcId="{A43B4385-A445-4AD2-A8DC-55E5E17FFD75}" destId="{6C787661-5711-408B-AA86-17BA6316F20E}" srcOrd="0" destOrd="0" presId="urn:microsoft.com/office/officeart/2005/8/layout/orgChart1"/>
    <dgm:cxn modelId="{608320A7-52D8-4940-A3D5-E5511E01D88C}" type="presParOf" srcId="{A43B4385-A445-4AD2-A8DC-55E5E17FFD75}" destId="{15926D5A-7D13-4905-B882-9E3F6C748995}" srcOrd="1" destOrd="0" presId="urn:microsoft.com/office/officeart/2005/8/layout/orgChart1"/>
    <dgm:cxn modelId="{3188B12A-751F-4702-93FF-D4CA69A4441F}" type="presParOf" srcId="{4991F876-9BA3-49E2-A9A8-5B874214D8D6}" destId="{1DBD3F5C-1C9F-4FC9-A3F2-A67623032578}" srcOrd="1" destOrd="0" presId="urn:microsoft.com/office/officeart/2005/8/layout/orgChart1"/>
    <dgm:cxn modelId="{99DC9941-DD8F-44C1-BCC2-5E5BABEC8BFD}" type="presParOf" srcId="{4991F876-9BA3-49E2-A9A8-5B874214D8D6}" destId="{424F94C2-86E0-4EAF-BEFC-228C73A99F56}" srcOrd="2" destOrd="0" presId="urn:microsoft.com/office/officeart/2005/8/layout/orgChart1"/>
    <dgm:cxn modelId="{2F6D1857-3444-4412-8F50-04AF239A5694}" type="presParOf" srcId="{FDE52E8D-B3FB-414F-BCE6-337C0FF1B2E8}" destId="{F7240596-690D-4406-ADDA-F6F5D9746CEA}" srcOrd="2" destOrd="0" presId="urn:microsoft.com/office/officeart/2005/8/layout/orgChart1"/>
    <dgm:cxn modelId="{948E7409-2563-4C98-8677-CB3499295780}" type="presParOf" srcId="{FDE52E8D-B3FB-414F-BCE6-337C0FF1B2E8}" destId="{5B39A376-4337-408E-8DE0-95F31A0A8688}" srcOrd="3" destOrd="0" presId="urn:microsoft.com/office/officeart/2005/8/layout/orgChart1"/>
    <dgm:cxn modelId="{8F6FC6A7-874B-46FE-ABD8-F422B890E520}" type="presParOf" srcId="{5B39A376-4337-408E-8DE0-95F31A0A8688}" destId="{42A9955E-92C5-4C93-ACD4-785E8C163715}" srcOrd="0" destOrd="0" presId="urn:microsoft.com/office/officeart/2005/8/layout/orgChart1"/>
    <dgm:cxn modelId="{B506A085-316D-48F6-BAEF-9C9014CB7C1E}" type="presParOf" srcId="{42A9955E-92C5-4C93-ACD4-785E8C163715}" destId="{43AD7475-ACA3-413F-8680-295E510B65E0}" srcOrd="0" destOrd="0" presId="urn:microsoft.com/office/officeart/2005/8/layout/orgChart1"/>
    <dgm:cxn modelId="{690736DF-5EFD-4874-B35C-C7E7881FA39D}" type="presParOf" srcId="{42A9955E-92C5-4C93-ACD4-785E8C163715}" destId="{58DDD4D8-A230-424D-9955-0A1940001334}" srcOrd="1" destOrd="0" presId="urn:microsoft.com/office/officeart/2005/8/layout/orgChart1"/>
    <dgm:cxn modelId="{21B111F7-6A75-423B-A0D8-82FABB8DC4E7}" type="presParOf" srcId="{5B39A376-4337-408E-8DE0-95F31A0A8688}" destId="{2908FD3A-CFAC-4C7E-A7EC-63A39962D211}" srcOrd="1" destOrd="0" presId="urn:microsoft.com/office/officeart/2005/8/layout/orgChart1"/>
    <dgm:cxn modelId="{7221CAA7-18F0-4D88-A414-E193297E16A9}" type="presParOf" srcId="{5B39A376-4337-408E-8DE0-95F31A0A8688}" destId="{5418ED43-0D88-4266-AE3C-5318531E28B9}" srcOrd="2" destOrd="0" presId="urn:microsoft.com/office/officeart/2005/8/layout/orgChart1"/>
    <dgm:cxn modelId="{5F07FA63-5626-44D9-944C-02D6A6CB6F51}" type="presParOf" srcId="{FDE52E8D-B3FB-414F-BCE6-337C0FF1B2E8}" destId="{37784D33-158C-4FE4-9852-E29E352BA539}" srcOrd="4" destOrd="0" presId="urn:microsoft.com/office/officeart/2005/8/layout/orgChart1"/>
    <dgm:cxn modelId="{C2EE974C-FF28-4FE4-9332-7419C04D6BE5}" type="presParOf" srcId="{FDE52E8D-B3FB-414F-BCE6-337C0FF1B2E8}" destId="{8E8C0E24-503D-49E2-A925-4E1D02A732C5}" srcOrd="5" destOrd="0" presId="urn:microsoft.com/office/officeart/2005/8/layout/orgChart1"/>
    <dgm:cxn modelId="{71A64F74-6CD7-41BA-AD21-674FCECDAF36}" type="presParOf" srcId="{8E8C0E24-503D-49E2-A925-4E1D02A732C5}" destId="{FBBDB87F-0A24-4A9D-8B04-A51716FDE280}" srcOrd="0" destOrd="0" presId="urn:microsoft.com/office/officeart/2005/8/layout/orgChart1"/>
    <dgm:cxn modelId="{0DB57379-B61E-4F60-B87B-34D2189E9B97}" type="presParOf" srcId="{FBBDB87F-0A24-4A9D-8B04-A51716FDE280}" destId="{D821CB0F-8B19-470E-9D5E-46BC0FC5A953}" srcOrd="0" destOrd="0" presId="urn:microsoft.com/office/officeart/2005/8/layout/orgChart1"/>
    <dgm:cxn modelId="{7E991C2A-FD90-4862-AC7F-2D33C9A309AB}" type="presParOf" srcId="{FBBDB87F-0A24-4A9D-8B04-A51716FDE280}" destId="{BE667484-37F9-4D23-9C1D-597773941693}" srcOrd="1" destOrd="0" presId="urn:microsoft.com/office/officeart/2005/8/layout/orgChart1"/>
    <dgm:cxn modelId="{B4E6E49F-5FA2-4535-BD9F-D3E7FEC9D9F9}" type="presParOf" srcId="{8E8C0E24-503D-49E2-A925-4E1D02A732C5}" destId="{CF9CFD6D-440B-4A1E-89ED-E8812005A0E6}" srcOrd="1" destOrd="0" presId="urn:microsoft.com/office/officeart/2005/8/layout/orgChart1"/>
    <dgm:cxn modelId="{C10FE7D1-C58B-4173-9814-4E9388DC8669}" type="presParOf" srcId="{8E8C0E24-503D-49E2-A925-4E1D02A732C5}" destId="{38F5D8BB-57AB-46E2-90D6-898334C1DB57}" srcOrd="2" destOrd="0" presId="urn:microsoft.com/office/officeart/2005/8/layout/orgChart1"/>
    <dgm:cxn modelId="{1FCBC25B-26DA-4A33-A3F4-F618A6BB0DA7}" type="presParOf" srcId="{FDE52E8D-B3FB-414F-BCE6-337C0FF1B2E8}" destId="{5A3C1543-A2D6-42AD-9D97-5074512A6812}" srcOrd="6" destOrd="0" presId="urn:microsoft.com/office/officeart/2005/8/layout/orgChart1"/>
    <dgm:cxn modelId="{82B9FC4D-F818-413C-8B31-59FEEF4331D4}" type="presParOf" srcId="{FDE52E8D-B3FB-414F-BCE6-337C0FF1B2E8}" destId="{15ED28AB-C17B-48FF-9E5D-F51442F6A6C0}" srcOrd="7" destOrd="0" presId="urn:microsoft.com/office/officeart/2005/8/layout/orgChart1"/>
    <dgm:cxn modelId="{668FDB40-87C3-45A1-817D-B467DA704E9D}" type="presParOf" srcId="{15ED28AB-C17B-48FF-9E5D-F51442F6A6C0}" destId="{112E5882-107A-4AB6-B924-6B4B3BC4DC78}" srcOrd="0" destOrd="0" presId="urn:microsoft.com/office/officeart/2005/8/layout/orgChart1"/>
    <dgm:cxn modelId="{0F3720C4-C4C9-468D-B496-04D48B1B0420}" type="presParOf" srcId="{112E5882-107A-4AB6-B924-6B4B3BC4DC78}" destId="{342625E3-BCA4-4363-8433-C62AB14DC370}" srcOrd="0" destOrd="0" presId="urn:microsoft.com/office/officeart/2005/8/layout/orgChart1"/>
    <dgm:cxn modelId="{E46CBAC4-E2B0-4E2B-9D1D-CB9D3EBCCF6C}" type="presParOf" srcId="{112E5882-107A-4AB6-B924-6B4B3BC4DC78}" destId="{CB1E7458-F2DE-4F17-B9AC-EFB56E9E8857}" srcOrd="1" destOrd="0" presId="urn:microsoft.com/office/officeart/2005/8/layout/orgChart1"/>
    <dgm:cxn modelId="{D7777BC0-6983-4EE0-9DDD-5B6166F51F86}" type="presParOf" srcId="{15ED28AB-C17B-48FF-9E5D-F51442F6A6C0}" destId="{FCB5F1E8-4BC6-45EB-A56B-08FA07E66D85}" srcOrd="1" destOrd="0" presId="urn:microsoft.com/office/officeart/2005/8/layout/orgChart1"/>
    <dgm:cxn modelId="{CFCC78B5-74E4-49F7-8E9E-6EE42B806625}" type="presParOf" srcId="{15ED28AB-C17B-48FF-9E5D-F51442F6A6C0}" destId="{5231AA01-4D29-4C2D-9F85-996A4FD9C9E6}" srcOrd="2" destOrd="0" presId="urn:microsoft.com/office/officeart/2005/8/layout/orgChart1"/>
    <dgm:cxn modelId="{7008118E-F09D-45A3-983D-122D39E691C6}" type="presParOf" srcId="{FDE52E8D-B3FB-414F-BCE6-337C0FF1B2E8}" destId="{65E89354-3B38-4649-A722-A0B2DD8D979A}" srcOrd="8" destOrd="0" presId="urn:microsoft.com/office/officeart/2005/8/layout/orgChart1"/>
    <dgm:cxn modelId="{BC243A5F-73AC-44C3-ADB4-9B03866FC37F}" type="presParOf" srcId="{FDE52E8D-B3FB-414F-BCE6-337C0FF1B2E8}" destId="{7DEE40C9-40B9-4772-9F2C-C693CB9D0810}" srcOrd="9" destOrd="0" presId="urn:microsoft.com/office/officeart/2005/8/layout/orgChart1"/>
    <dgm:cxn modelId="{02A9F664-04E4-4263-9F30-5F7ED78A4AE9}" type="presParOf" srcId="{7DEE40C9-40B9-4772-9F2C-C693CB9D0810}" destId="{687702AC-BAFB-4EE1-BFF2-D714CEE944CB}" srcOrd="0" destOrd="0" presId="urn:microsoft.com/office/officeart/2005/8/layout/orgChart1"/>
    <dgm:cxn modelId="{4062B7CF-8D7F-41DF-8428-0F8A4D5F156A}" type="presParOf" srcId="{687702AC-BAFB-4EE1-BFF2-D714CEE944CB}" destId="{AAD3C840-093B-4748-BFD7-04A330B33C5B}" srcOrd="0" destOrd="0" presId="urn:microsoft.com/office/officeart/2005/8/layout/orgChart1"/>
    <dgm:cxn modelId="{5A4452CB-C6D6-4DC5-808B-1EBD7855E2DB}" type="presParOf" srcId="{687702AC-BAFB-4EE1-BFF2-D714CEE944CB}" destId="{87184F28-D511-4B90-9AD0-E8D421FE32D0}" srcOrd="1" destOrd="0" presId="urn:microsoft.com/office/officeart/2005/8/layout/orgChart1"/>
    <dgm:cxn modelId="{6C98B51C-D9C7-471E-9EFB-A685999B9742}" type="presParOf" srcId="{7DEE40C9-40B9-4772-9F2C-C693CB9D0810}" destId="{376A680D-4BA4-4D0B-B63C-F24F940F5815}" srcOrd="1" destOrd="0" presId="urn:microsoft.com/office/officeart/2005/8/layout/orgChart1"/>
    <dgm:cxn modelId="{38AF101C-4DC0-4076-995F-E467D9A6AA57}" type="presParOf" srcId="{7DEE40C9-40B9-4772-9F2C-C693CB9D0810}" destId="{522BB7AA-072B-4A3D-9A69-385525851571}" srcOrd="2" destOrd="0" presId="urn:microsoft.com/office/officeart/2005/8/layout/orgChart1"/>
    <dgm:cxn modelId="{87B17437-1D5F-45EA-A7D5-55B8480F8129}" type="presParOf" srcId="{FDE52E8D-B3FB-414F-BCE6-337C0FF1B2E8}" destId="{43887142-65CB-4083-81C9-2F65621B0064}" srcOrd="10" destOrd="0" presId="urn:microsoft.com/office/officeart/2005/8/layout/orgChart1"/>
    <dgm:cxn modelId="{7C47C42A-D322-4BFD-B18C-DF9F441D8670}" type="presParOf" srcId="{FDE52E8D-B3FB-414F-BCE6-337C0FF1B2E8}" destId="{FCF073DA-3E71-4A69-B1D0-19315C772374}" srcOrd="11" destOrd="0" presId="urn:microsoft.com/office/officeart/2005/8/layout/orgChart1"/>
    <dgm:cxn modelId="{20260C0E-7DCD-48B7-BA74-2AE2B5C128AF}" type="presParOf" srcId="{FCF073DA-3E71-4A69-B1D0-19315C772374}" destId="{51534235-A18A-4675-81B8-CB227BD14767}" srcOrd="0" destOrd="0" presId="urn:microsoft.com/office/officeart/2005/8/layout/orgChart1"/>
    <dgm:cxn modelId="{4ACBA64D-3C2E-4FF2-905A-D919E041D8E7}" type="presParOf" srcId="{51534235-A18A-4675-81B8-CB227BD14767}" destId="{B9E15E61-AEBE-4620-80EF-16BA6C1CCC44}" srcOrd="0" destOrd="0" presId="urn:microsoft.com/office/officeart/2005/8/layout/orgChart1"/>
    <dgm:cxn modelId="{1709BDD3-218E-46EE-AADA-C5146B3168FE}" type="presParOf" srcId="{51534235-A18A-4675-81B8-CB227BD14767}" destId="{302C26C4-FB76-446E-A010-3F3F5F0B3EF8}" srcOrd="1" destOrd="0" presId="urn:microsoft.com/office/officeart/2005/8/layout/orgChart1"/>
    <dgm:cxn modelId="{29CA1994-C16A-487A-BB31-BDC38DE8CCFD}" type="presParOf" srcId="{FCF073DA-3E71-4A69-B1D0-19315C772374}" destId="{580C0FAC-2C20-455E-8EE4-EF24F29B0F90}" srcOrd="1" destOrd="0" presId="urn:microsoft.com/office/officeart/2005/8/layout/orgChart1"/>
    <dgm:cxn modelId="{BD473B2B-4F9B-43AD-973D-C3060FF65C09}" type="presParOf" srcId="{FCF073DA-3E71-4A69-B1D0-19315C772374}" destId="{D22218F8-6CEF-4274-84DC-AA9697569B9F}" srcOrd="2" destOrd="0" presId="urn:microsoft.com/office/officeart/2005/8/layout/orgChart1"/>
    <dgm:cxn modelId="{27963A00-0D39-4756-93FB-40BC56FAB1EA}" type="presParOf" srcId="{1F14DE9C-B7A0-4FFB-9FFA-20F7F2DDA1ED}" destId="{1AB4CAF5-8C2F-4CB8-B370-71D2F9EEA245}" srcOrd="2" destOrd="0" presId="urn:microsoft.com/office/officeart/2005/8/layout/orgChart1"/>
    <dgm:cxn modelId="{87D5C40A-77D5-4985-810E-32CB5F3D0466}" type="presParOf" srcId="{392A03F2-DACA-4627-A3CB-C60FBF5768E8}" destId="{3E625739-C1AF-4AE8-BCE7-05074BF07F85}" srcOrd="2" destOrd="0" presId="urn:microsoft.com/office/officeart/2005/8/layout/orgChart1"/>
    <dgm:cxn modelId="{40C40C31-38A9-4B1F-A6CF-F337A6BA7ECE}" type="presParOf" srcId="{D9DF4911-DCB0-4D11-AFC3-4BE6A1F0CDA0}" destId="{69CA6718-69A0-48CE-9144-8CE8FD6D31B2}" srcOrd="2" destOrd="0" presId="urn:microsoft.com/office/officeart/2005/8/layout/orgChart1"/>
    <dgm:cxn modelId="{D1DB7C0A-73CE-4AA4-B870-F0AEDEF9CBDF}" type="presParOf" srcId="{C139C701-8952-4151-8132-F5AA1053A8CC}" destId="{3D75EA2E-BFD8-4D6C-A3FB-57D12262D061}" srcOrd="2" destOrd="0" presId="urn:microsoft.com/office/officeart/2005/8/layout/orgChart1"/>
    <dgm:cxn modelId="{364DBC1C-7C06-48B0-B125-2E4357FD0163}" type="presParOf" srcId="{C139C701-8952-4151-8132-F5AA1053A8CC}" destId="{75A84605-F0B9-42A4-9A8C-6A707A863A27}" srcOrd="3" destOrd="0" presId="urn:microsoft.com/office/officeart/2005/8/layout/orgChart1"/>
    <dgm:cxn modelId="{8E360A98-EEAB-4DE8-86E2-1B469A956CAE}" type="presParOf" srcId="{75A84605-F0B9-42A4-9A8C-6A707A863A27}" destId="{1343513B-A5F3-4C5F-A011-196092E46255}" srcOrd="0" destOrd="0" presId="urn:microsoft.com/office/officeart/2005/8/layout/orgChart1"/>
    <dgm:cxn modelId="{0BC2163C-5E18-43DA-B37D-33085C165EAB}" type="presParOf" srcId="{1343513B-A5F3-4C5F-A011-196092E46255}" destId="{C409506C-DFBA-46CD-87B9-2C19932B2F71}" srcOrd="0" destOrd="0" presId="urn:microsoft.com/office/officeart/2005/8/layout/orgChart1"/>
    <dgm:cxn modelId="{5A4B8974-B7BC-4C8C-9581-F0091990FC2A}" type="presParOf" srcId="{1343513B-A5F3-4C5F-A011-196092E46255}" destId="{394A7367-4056-4161-BB81-48E5F240A48D}" srcOrd="1" destOrd="0" presId="urn:microsoft.com/office/officeart/2005/8/layout/orgChart1"/>
    <dgm:cxn modelId="{80C7233E-0FDE-47F5-AA73-128674D43AE7}" type="presParOf" srcId="{75A84605-F0B9-42A4-9A8C-6A707A863A27}" destId="{F3188C66-362E-4704-9DF2-4E8B6E97292B}" srcOrd="1" destOrd="0" presId="urn:microsoft.com/office/officeart/2005/8/layout/orgChart1"/>
    <dgm:cxn modelId="{3D9AD010-1FE7-4D04-82CC-8669A4AE239E}" type="presParOf" srcId="{F3188C66-362E-4704-9DF2-4E8B6E97292B}" destId="{7E3D84F3-00ED-4BCF-8429-33324D643668}" srcOrd="0" destOrd="0" presId="urn:microsoft.com/office/officeart/2005/8/layout/orgChart1"/>
    <dgm:cxn modelId="{2AA958A2-7192-45B8-B47C-7D1CF9307A9F}" type="presParOf" srcId="{F3188C66-362E-4704-9DF2-4E8B6E97292B}" destId="{4F9F888D-4253-4FAD-9BCF-865B2DA4030D}" srcOrd="1" destOrd="0" presId="urn:microsoft.com/office/officeart/2005/8/layout/orgChart1"/>
    <dgm:cxn modelId="{9BC2BB11-38FE-4CF8-83C7-6BC09D210CFE}" type="presParOf" srcId="{4F9F888D-4253-4FAD-9BCF-865B2DA4030D}" destId="{AC36B6D3-2357-4511-AE7C-0DA4CD018BCF}" srcOrd="0" destOrd="0" presId="urn:microsoft.com/office/officeart/2005/8/layout/orgChart1"/>
    <dgm:cxn modelId="{1B6A3609-4967-40DC-B418-2765728F9DBC}" type="presParOf" srcId="{AC36B6D3-2357-4511-AE7C-0DA4CD018BCF}" destId="{2055A546-9E51-4A21-90EA-CF9B2539A477}" srcOrd="0" destOrd="0" presId="urn:microsoft.com/office/officeart/2005/8/layout/orgChart1"/>
    <dgm:cxn modelId="{EDAEC771-B3C1-467C-A42E-6697B5D00972}" type="presParOf" srcId="{AC36B6D3-2357-4511-AE7C-0DA4CD018BCF}" destId="{1FF6D80E-B999-4681-859D-E6E8E0D7E5FC}" srcOrd="1" destOrd="0" presId="urn:microsoft.com/office/officeart/2005/8/layout/orgChart1"/>
    <dgm:cxn modelId="{22B7E097-6DFB-40CC-A340-DF0F23D945DF}" type="presParOf" srcId="{4F9F888D-4253-4FAD-9BCF-865B2DA4030D}" destId="{02B810E0-1A40-4AE7-8B8F-3D9FCEECA5B4}" srcOrd="1" destOrd="0" presId="urn:microsoft.com/office/officeart/2005/8/layout/orgChart1"/>
    <dgm:cxn modelId="{7631D0C5-BB94-4F4D-B439-540CCE03CACD}" type="presParOf" srcId="{02B810E0-1A40-4AE7-8B8F-3D9FCEECA5B4}" destId="{8A532C3D-5456-44E8-9A44-E27ED64ED375}" srcOrd="0" destOrd="0" presId="urn:microsoft.com/office/officeart/2005/8/layout/orgChart1"/>
    <dgm:cxn modelId="{D5119CC6-9235-4846-8926-4E765D45DA3D}" type="presParOf" srcId="{02B810E0-1A40-4AE7-8B8F-3D9FCEECA5B4}" destId="{6C720191-39F6-4A53-8E19-2A090EB73838}" srcOrd="1" destOrd="0" presId="urn:microsoft.com/office/officeart/2005/8/layout/orgChart1"/>
    <dgm:cxn modelId="{16D86BCB-5FD9-479D-ACA0-51B591131F0A}" type="presParOf" srcId="{6C720191-39F6-4A53-8E19-2A090EB73838}" destId="{EEA58E77-7A9C-4E9E-8837-0081A0AB43F3}" srcOrd="0" destOrd="0" presId="urn:microsoft.com/office/officeart/2005/8/layout/orgChart1"/>
    <dgm:cxn modelId="{4E6D338F-EDEC-4635-AC9A-C2521CBBBA7A}" type="presParOf" srcId="{EEA58E77-7A9C-4E9E-8837-0081A0AB43F3}" destId="{2111E0AA-48F9-4F9E-86A9-2AF4CBCEF10E}" srcOrd="0" destOrd="0" presId="urn:microsoft.com/office/officeart/2005/8/layout/orgChart1"/>
    <dgm:cxn modelId="{D38235D7-B46A-4291-9DE8-E804EE926A43}" type="presParOf" srcId="{EEA58E77-7A9C-4E9E-8837-0081A0AB43F3}" destId="{0C1141D6-D82B-4349-A24B-813917B95D65}" srcOrd="1" destOrd="0" presId="urn:microsoft.com/office/officeart/2005/8/layout/orgChart1"/>
    <dgm:cxn modelId="{2F8111AB-1178-4F08-AF56-EC19D383881D}" type="presParOf" srcId="{6C720191-39F6-4A53-8E19-2A090EB73838}" destId="{5AEDB028-1222-4644-9702-54C84FED1BC9}" srcOrd="1" destOrd="0" presId="urn:microsoft.com/office/officeart/2005/8/layout/orgChart1"/>
    <dgm:cxn modelId="{D2E9624E-ED57-4418-91AC-696A40FB95E0}" type="presParOf" srcId="{5AEDB028-1222-4644-9702-54C84FED1BC9}" destId="{E3F89AD4-5025-4692-A51C-4B2F34F84129}" srcOrd="0" destOrd="0" presId="urn:microsoft.com/office/officeart/2005/8/layout/orgChart1"/>
    <dgm:cxn modelId="{C702B09C-BC4C-4EF6-8E4C-4DE07E3DA14E}" type="presParOf" srcId="{5AEDB028-1222-4644-9702-54C84FED1BC9}" destId="{56576A95-9BE3-4AFD-A789-8A572792B22F}" srcOrd="1" destOrd="0" presId="urn:microsoft.com/office/officeart/2005/8/layout/orgChart1"/>
    <dgm:cxn modelId="{55F44E73-A79F-462B-AD47-D4598E59CB46}" type="presParOf" srcId="{56576A95-9BE3-4AFD-A789-8A572792B22F}" destId="{0EAA5D04-DCDE-4DC2-AE09-6059DB156D04}" srcOrd="0" destOrd="0" presId="urn:microsoft.com/office/officeart/2005/8/layout/orgChart1"/>
    <dgm:cxn modelId="{5DF53B86-41AB-4303-A994-77C14B49DFE1}" type="presParOf" srcId="{0EAA5D04-DCDE-4DC2-AE09-6059DB156D04}" destId="{FB536E91-04BA-4A4F-8714-9DC6D7B9BC94}" srcOrd="0" destOrd="0" presId="urn:microsoft.com/office/officeart/2005/8/layout/orgChart1"/>
    <dgm:cxn modelId="{67F6D299-D9AC-4438-8ABC-F302DC4930A7}" type="presParOf" srcId="{0EAA5D04-DCDE-4DC2-AE09-6059DB156D04}" destId="{9F5BE285-33E3-45BD-BF15-B2832F28080B}" srcOrd="1" destOrd="0" presId="urn:microsoft.com/office/officeart/2005/8/layout/orgChart1"/>
    <dgm:cxn modelId="{16423ECC-C76C-4772-A49F-D84758F36FA5}" type="presParOf" srcId="{56576A95-9BE3-4AFD-A789-8A572792B22F}" destId="{C519040A-78B6-481D-AD95-B193481D2C47}" srcOrd="1" destOrd="0" presId="urn:microsoft.com/office/officeart/2005/8/layout/orgChart1"/>
    <dgm:cxn modelId="{FF3056F6-8E81-4DBE-9606-AD7F8AD22E22}" type="presParOf" srcId="{56576A95-9BE3-4AFD-A789-8A572792B22F}" destId="{BF327EFE-00CA-4BA2-B975-2DD29D25DBC6}" srcOrd="2" destOrd="0" presId="urn:microsoft.com/office/officeart/2005/8/layout/orgChart1"/>
    <dgm:cxn modelId="{33891443-104E-4B86-8299-C7137855CEA5}" type="presParOf" srcId="{5AEDB028-1222-4644-9702-54C84FED1BC9}" destId="{6BE9B386-4CA2-44EC-9B08-206AD9ED0097}" srcOrd="2" destOrd="0" presId="urn:microsoft.com/office/officeart/2005/8/layout/orgChart1"/>
    <dgm:cxn modelId="{8561E43A-15F3-4918-B34F-A21225074831}" type="presParOf" srcId="{5AEDB028-1222-4644-9702-54C84FED1BC9}" destId="{3A9A8883-7FD4-4D87-A38F-2110DD212242}" srcOrd="3" destOrd="0" presId="urn:microsoft.com/office/officeart/2005/8/layout/orgChart1"/>
    <dgm:cxn modelId="{1BC8F2DD-2A17-4C73-A3AC-ED0649823D87}" type="presParOf" srcId="{3A9A8883-7FD4-4D87-A38F-2110DD212242}" destId="{50D90402-DA12-4B49-87A9-6EBB4B0C81E2}" srcOrd="0" destOrd="0" presId="urn:microsoft.com/office/officeart/2005/8/layout/orgChart1"/>
    <dgm:cxn modelId="{2F93B663-5EAC-4398-B0BF-E6BD090CF4AE}" type="presParOf" srcId="{50D90402-DA12-4B49-87A9-6EBB4B0C81E2}" destId="{31F6AC45-64D6-4275-8791-3BFA7885EFA4}" srcOrd="0" destOrd="0" presId="urn:microsoft.com/office/officeart/2005/8/layout/orgChart1"/>
    <dgm:cxn modelId="{8076A171-7355-44D1-BB89-A45316B13953}" type="presParOf" srcId="{50D90402-DA12-4B49-87A9-6EBB4B0C81E2}" destId="{6785A63A-C13A-4488-B243-330D7A40F7F6}" srcOrd="1" destOrd="0" presId="urn:microsoft.com/office/officeart/2005/8/layout/orgChart1"/>
    <dgm:cxn modelId="{0E8FC2D4-BDC6-4C9F-8388-C80378E3D4A8}" type="presParOf" srcId="{3A9A8883-7FD4-4D87-A38F-2110DD212242}" destId="{7C7EB878-1689-4303-A460-F4F3408A3F91}" srcOrd="1" destOrd="0" presId="urn:microsoft.com/office/officeart/2005/8/layout/orgChart1"/>
    <dgm:cxn modelId="{FEC3128C-42A8-4F8A-8B03-C7A0B00EA036}" type="presParOf" srcId="{3A9A8883-7FD4-4D87-A38F-2110DD212242}" destId="{121F0AA7-2FCA-475D-9DF1-FB708B423934}" srcOrd="2" destOrd="0" presId="urn:microsoft.com/office/officeart/2005/8/layout/orgChart1"/>
    <dgm:cxn modelId="{BB831662-F12E-4430-8C52-5EF774E6C877}" type="presParOf" srcId="{5AEDB028-1222-4644-9702-54C84FED1BC9}" destId="{891B460B-5DD0-4E04-8041-9D2D94B1C315}" srcOrd="4" destOrd="0" presId="urn:microsoft.com/office/officeart/2005/8/layout/orgChart1"/>
    <dgm:cxn modelId="{5272198E-D561-4DF7-8A73-F13DD3486A1D}" type="presParOf" srcId="{5AEDB028-1222-4644-9702-54C84FED1BC9}" destId="{0FCCA2A3-BA04-4C2B-B32D-4B5BC2B3A007}" srcOrd="5" destOrd="0" presId="urn:microsoft.com/office/officeart/2005/8/layout/orgChart1"/>
    <dgm:cxn modelId="{40DDF2F5-CE54-4368-8DBB-F096C45BEC19}" type="presParOf" srcId="{0FCCA2A3-BA04-4C2B-B32D-4B5BC2B3A007}" destId="{C39AC5EB-EC65-4D28-84E4-5257B68F6D07}" srcOrd="0" destOrd="0" presId="urn:microsoft.com/office/officeart/2005/8/layout/orgChart1"/>
    <dgm:cxn modelId="{7D57C042-928D-4DF4-90A6-4A3C9767EE98}" type="presParOf" srcId="{C39AC5EB-EC65-4D28-84E4-5257B68F6D07}" destId="{9DBA31F1-DD18-4E52-8E98-E5899FE39603}" srcOrd="0" destOrd="0" presId="urn:microsoft.com/office/officeart/2005/8/layout/orgChart1"/>
    <dgm:cxn modelId="{4D9E15A7-69EB-4EEE-8F1B-2D1D8CDF0750}" type="presParOf" srcId="{C39AC5EB-EC65-4D28-84E4-5257B68F6D07}" destId="{01762094-08DC-4ADE-8EA9-17059C9DE2D0}" srcOrd="1" destOrd="0" presId="urn:microsoft.com/office/officeart/2005/8/layout/orgChart1"/>
    <dgm:cxn modelId="{F8285B84-B1D4-4190-8E87-7FB5B6CCC988}" type="presParOf" srcId="{0FCCA2A3-BA04-4C2B-B32D-4B5BC2B3A007}" destId="{E2E18F9F-E92E-4379-9D39-8A90F1D439D8}" srcOrd="1" destOrd="0" presId="urn:microsoft.com/office/officeart/2005/8/layout/orgChart1"/>
    <dgm:cxn modelId="{58205523-2607-4722-AE54-A3AD645CA8F6}" type="presParOf" srcId="{0FCCA2A3-BA04-4C2B-B32D-4B5BC2B3A007}" destId="{49665856-5AF4-42ED-ABD2-2F4BCC5FADD1}" srcOrd="2" destOrd="0" presId="urn:microsoft.com/office/officeart/2005/8/layout/orgChart1"/>
    <dgm:cxn modelId="{D5FA5DB6-A617-42F9-A5EF-4B84AB41D85C}" type="presParOf" srcId="{5AEDB028-1222-4644-9702-54C84FED1BC9}" destId="{AEF40FA4-CB68-4F36-BBC6-9798D0CFB20E}" srcOrd="6" destOrd="0" presId="urn:microsoft.com/office/officeart/2005/8/layout/orgChart1"/>
    <dgm:cxn modelId="{B9E9BE6B-DC34-4928-B3E3-D1BD247A9BBD}" type="presParOf" srcId="{5AEDB028-1222-4644-9702-54C84FED1BC9}" destId="{FEC81D05-933C-40BC-9F66-1581D14D4E41}" srcOrd="7" destOrd="0" presId="urn:microsoft.com/office/officeart/2005/8/layout/orgChart1"/>
    <dgm:cxn modelId="{3AB5D3EF-666D-46D0-AE90-D2DDB5574B91}" type="presParOf" srcId="{FEC81D05-933C-40BC-9F66-1581D14D4E41}" destId="{D7941A1E-6C59-40A9-A251-F3AC12B39F1A}" srcOrd="0" destOrd="0" presId="urn:microsoft.com/office/officeart/2005/8/layout/orgChart1"/>
    <dgm:cxn modelId="{F1B7EAA9-7B15-4832-BF17-7FF0FF89BEF2}" type="presParOf" srcId="{D7941A1E-6C59-40A9-A251-F3AC12B39F1A}" destId="{06E5FD87-839F-4836-9FC2-5EA10B307275}" srcOrd="0" destOrd="0" presId="urn:microsoft.com/office/officeart/2005/8/layout/orgChart1"/>
    <dgm:cxn modelId="{63CFC491-B87E-46BE-92C1-F0482A6EEE12}" type="presParOf" srcId="{D7941A1E-6C59-40A9-A251-F3AC12B39F1A}" destId="{C71541D9-B2EA-454C-8FFF-29F6A1A10874}" srcOrd="1" destOrd="0" presId="urn:microsoft.com/office/officeart/2005/8/layout/orgChart1"/>
    <dgm:cxn modelId="{A4934B09-3C86-4BE6-8ABA-D6B863044BCB}" type="presParOf" srcId="{FEC81D05-933C-40BC-9F66-1581D14D4E41}" destId="{0371A0FF-5B2A-4E98-942E-DC1DC497CDED}" srcOrd="1" destOrd="0" presId="urn:microsoft.com/office/officeart/2005/8/layout/orgChart1"/>
    <dgm:cxn modelId="{2D2D2CA5-A491-475B-8B3E-3E7347EF0BD8}" type="presParOf" srcId="{FEC81D05-933C-40BC-9F66-1581D14D4E41}" destId="{DB3D6E78-61D5-4CD2-BFF7-98CD18A69AFE}" srcOrd="2" destOrd="0" presId="urn:microsoft.com/office/officeart/2005/8/layout/orgChart1"/>
    <dgm:cxn modelId="{A4B3A581-2515-446A-A15A-0727DC8EF3DC}" type="presParOf" srcId="{6C720191-39F6-4A53-8E19-2A090EB73838}" destId="{5011F246-18E3-4FC5-AA51-748C37B71322}" srcOrd="2" destOrd="0" presId="urn:microsoft.com/office/officeart/2005/8/layout/orgChart1"/>
    <dgm:cxn modelId="{E75D0B49-D4AC-4E2D-8625-E24DD296EA7D}" type="presParOf" srcId="{02B810E0-1A40-4AE7-8B8F-3D9FCEECA5B4}" destId="{270FBEE0-6AA0-4704-8956-8D8F3F994406}" srcOrd="2" destOrd="0" presId="urn:microsoft.com/office/officeart/2005/8/layout/orgChart1"/>
    <dgm:cxn modelId="{2076B86C-9443-4F9D-8B58-31D50B074E4D}" type="presParOf" srcId="{02B810E0-1A40-4AE7-8B8F-3D9FCEECA5B4}" destId="{493CAB3B-7940-47A4-93CB-FC732E4A0E39}" srcOrd="3" destOrd="0" presId="urn:microsoft.com/office/officeart/2005/8/layout/orgChart1"/>
    <dgm:cxn modelId="{0AC4F959-04D6-412C-B4F7-3854310ADA2D}" type="presParOf" srcId="{493CAB3B-7940-47A4-93CB-FC732E4A0E39}" destId="{9720C0FB-6D46-4F8C-A894-45E28F873275}" srcOrd="0" destOrd="0" presId="urn:microsoft.com/office/officeart/2005/8/layout/orgChart1"/>
    <dgm:cxn modelId="{875D12A3-40DE-4A47-A8E4-8604E8BCEF48}" type="presParOf" srcId="{9720C0FB-6D46-4F8C-A894-45E28F873275}" destId="{88AE6FBE-7677-4FCE-BF53-4A8B213AF572}" srcOrd="0" destOrd="0" presId="urn:microsoft.com/office/officeart/2005/8/layout/orgChart1"/>
    <dgm:cxn modelId="{1A52F6C8-F518-437B-96C1-B9C09A262A4E}" type="presParOf" srcId="{9720C0FB-6D46-4F8C-A894-45E28F873275}" destId="{455A834B-1640-4222-AF00-FEA4B363A284}" srcOrd="1" destOrd="0" presId="urn:microsoft.com/office/officeart/2005/8/layout/orgChart1"/>
    <dgm:cxn modelId="{B4D5555E-4446-4230-8261-40DE87D68D7A}" type="presParOf" srcId="{493CAB3B-7940-47A4-93CB-FC732E4A0E39}" destId="{59422177-8FF6-4DD0-9805-B9FC749EEA72}" srcOrd="1" destOrd="0" presId="urn:microsoft.com/office/officeart/2005/8/layout/orgChart1"/>
    <dgm:cxn modelId="{2679AE34-9E16-4E03-A750-F1CD862BF2BB}" type="presParOf" srcId="{59422177-8FF6-4DD0-9805-B9FC749EEA72}" destId="{9944EBD5-C828-43A9-8A13-CCB26ED1F087}" srcOrd="0" destOrd="0" presId="urn:microsoft.com/office/officeart/2005/8/layout/orgChart1"/>
    <dgm:cxn modelId="{FF9D4399-9DC2-4562-A854-BDE555C43A51}" type="presParOf" srcId="{59422177-8FF6-4DD0-9805-B9FC749EEA72}" destId="{27893A66-6019-49B1-8B20-B502EEDFE29D}" srcOrd="1" destOrd="0" presId="urn:microsoft.com/office/officeart/2005/8/layout/orgChart1"/>
    <dgm:cxn modelId="{529490D2-F0AE-409F-AD7A-76EE2EF8DC04}" type="presParOf" srcId="{27893A66-6019-49B1-8B20-B502EEDFE29D}" destId="{452479AD-10DF-4E52-B9E7-A1BE2EFACC7E}" srcOrd="0" destOrd="0" presId="urn:microsoft.com/office/officeart/2005/8/layout/orgChart1"/>
    <dgm:cxn modelId="{64B5A4D5-6917-4FCD-ADD4-93FC5F04C209}" type="presParOf" srcId="{452479AD-10DF-4E52-B9E7-A1BE2EFACC7E}" destId="{FB7F0497-AC5A-4037-AD7C-46BFF22DDE6B}" srcOrd="0" destOrd="0" presId="urn:microsoft.com/office/officeart/2005/8/layout/orgChart1"/>
    <dgm:cxn modelId="{2F6AA061-384A-447B-ACEC-A8FDDE63E2C3}" type="presParOf" srcId="{452479AD-10DF-4E52-B9E7-A1BE2EFACC7E}" destId="{50EF2818-1495-4A5C-BDFB-CC4C5B19A10B}" srcOrd="1" destOrd="0" presId="urn:microsoft.com/office/officeart/2005/8/layout/orgChart1"/>
    <dgm:cxn modelId="{C6960CFA-AECA-4D4D-B01C-8EEC855F7AE0}" type="presParOf" srcId="{27893A66-6019-49B1-8B20-B502EEDFE29D}" destId="{D14F61EF-ED3B-4B96-9A01-2155535516D4}" srcOrd="1" destOrd="0" presId="urn:microsoft.com/office/officeart/2005/8/layout/orgChart1"/>
    <dgm:cxn modelId="{338EF336-1537-483A-A554-00DC101A61D0}" type="presParOf" srcId="{27893A66-6019-49B1-8B20-B502EEDFE29D}" destId="{7537EEE7-FCAE-48D2-A486-DCE39CC9B7D1}" srcOrd="2" destOrd="0" presId="urn:microsoft.com/office/officeart/2005/8/layout/orgChart1"/>
    <dgm:cxn modelId="{2E3A3CB7-2EAD-47E7-9E48-67D120A97911}" type="presParOf" srcId="{59422177-8FF6-4DD0-9805-B9FC749EEA72}" destId="{2D28004C-D283-48B7-BF6A-F6DCC2543F39}" srcOrd="2" destOrd="0" presId="urn:microsoft.com/office/officeart/2005/8/layout/orgChart1"/>
    <dgm:cxn modelId="{0B86AD63-773D-441D-AA8B-B174018FF7A5}" type="presParOf" srcId="{59422177-8FF6-4DD0-9805-B9FC749EEA72}" destId="{A6522ED9-8A70-44BA-A306-178F09408E1F}" srcOrd="3" destOrd="0" presId="urn:microsoft.com/office/officeart/2005/8/layout/orgChart1"/>
    <dgm:cxn modelId="{5C2DFDDA-950E-4094-8589-E29DD66DC4F4}" type="presParOf" srcId="{A6522ED9-8A70-44BA-A306-178F09408E1F}" destId="{EAC58030-AECB-4722-94A6-64907D14FEDE}" srcOrd="0" destOrd="0" presId="urn:microsoft.com/office/officeart/2005/8/layout/orgChart1"/>
    <dgm:cxn modelId="{C757A922-6588-4A67-AC46-22F7E011A36E}" type="presParOf" srcId="{EAC58030-AECB-4722-94A6-64907D14FEDE}" destId="{0DEAD7B1-F20B-4975-879B-1C97F65BCAE9}" srcOrd="0" destOrd="0" presId="urn:microsoft.com/office/officeart/2005/8/layout/orgChart1"/>
    <dgm:cxn modelId="{82B68176-F7F1-4089-806E-775353998B66}" type="presParOf" srcId="{EAC58030-AECB-4722-94A6-64907D14FEDE}" destId="{BC2D2780-D28A-4378-B169-D69FC5E1EFF8}" srcOrd="1" destOrd="0" presId="urn:microsoft.com/office/officeart/2005/8/layout/orgChart1"/>
    <dgm:cxn modelId="{6B00F6EF-4663-490B-96F0-76DD2D9D2035}" type="presParOf" srcId="{A6522ED9-8A70-44BA-A306-178F09408E1F}" destId="{BBCB2666-5F74-45F8-84A6-BD8FF0AFEC21}" srcOrd="1" destOrd="0" presId="urn:microsoft.com/office/officeart/2005/8/layout/orgChart1"/>
    <dgm:cxn modelId="{807A5E8C-1881-4E76-A861-9784A2494A4F}" type="presParOf" srcId="{A6522ED9-8A70-44BA-A306-178F09408E1F}" destId="{AD928BC2-2001-4071-AFC3-F714883F9450}" srcOrd="2" destOrd="0" presId="urn:microsoft.com/office/officeart/2005/8/layout/orgChart1"/>
    <dgm:cxn modelId="{6984AE05-E6E1-4F15-B2B1-FBA9FB918B33}" type="presParOf" srcId="{493CAB3B-7940-47A4-93CB-FC732E4A0E39}" destId="{D135E625-E2DE-43CE-980F-FBD78E0B6281}" srcOrd="2" destOrd="0" presId="urn:microsoft.com/office/officeart/2005/8/layout/orgChart1"/>
    <dgm:cxn modelId="{D72043F5-256F-4E07-A94F-9FA2D43B76E5}" type="presParOf" srcId="{4F9F888D-4253-4FAD-9BCF-865B2DA4030D}" destId="{1D6C568A-4B3B-4168-9CE7-BCD3248B8E86}" srcOrd="2" destOrd="0" presId="urn:microsoft.com/office/officeart/2005/8/layout/orgChart1"/>
    <dgm:cxn modelId="{B87F54D3-4025-4172-9C78-4ABF420FD46E}" type="presParOf" srcId="{F3188C66-362E-4704-9DF2-4E8B6E97292B}" destId="{D62662A8-0EB4-43A7-AD2E-7EF26C82EB47}" srcOrd="2" destOrd="0" presId="urn:microsoft.com/office/officeart/2005/8/layout/orgChart1"/>
    <dgm:cxn modelId="{6A180D49-851E-4189-838B-DCCB009402F7}" type="presParOf" srcId="{F3188C66-362E-4704-9DF2-4E8B6E97292B}" destId="{A7D37B88-EFAA-401E-82D3-DC48D89C278F}" srcOrd="3" destOrd="0" presId="urn:microsoft.com/office/officeart/2005/8/layout/orgChart1"/>
    <dgm:cxn modelId="{FD8CAC5F-E944-4549-A50A-7BD5243087A5}" type="presParOf" srcId="{A7D37B88-EFAA-401E-82D3-DC48D89C278F}" destId="{E04995C7-31D1-4590-A85E-49222BCF2B63}" srcOrd="0" destOrd="0" presId="urn:microsoft.com/office/officeart/2005/8/layout/orgChart1"/>
    <dgm:cxn modelId="{C9F7ACB1-872E-4A63-8447-C5070FB413BA}" type="presParOf" srcId="{E04995C7-31D1-4590-A85E-49222BCF2B63}" destId="{B94E3941-3687-427D-B799-4F3006AADBF5}" srcOrd="0" destOrd="0" presId="urn:microsoft.com/office/officeart/2005/8/layout/orgChart1"/>
    <dgm:cxn modelId="{F30D2B19-16BC-410B-99F7-10183952DA17}" type="presParOf" srcId="{E04995C7-31D1-4590-A85E-49222BCF2B63}" destId="{D0C727F0-59B4-4ABD-8D97-D5EB24FC08E2}" srcOrd="1" destOrd="0" presId="urn:microsoft.com/office/officeart/2005/8/layout/orgChart1"/>
    <dgm:cxn modelId="{9C5FC0EA-45A7-4511-A01F-FFC381C2B38C}" type="presParOf" srcId="{A7D37B88-EFAA-401E-82D3-DC48D89C278F}" destId="{E33317A7-1D63-4687-B3B7-3093EC873CC1}" srcOrd="1" destOrd="0" presId="urn:microsoft.com/office/officeart/2005/8/layout/orgChart1"/>
    <dgm:cxn modelId="{497F784C-8167-48A8-A527-D3C3CC30AA80}" type="presParOf" srcId="{E33317A7-1D63-4687-B3B7-3093EC873CC1}" destId="{DF9BBB57-D597-4BCF-A42B-696538175BB4}" srcOrd="0" destOrd="0" presId="urn:microsoft.com/office/officeart/2005/8/layout/orgChart1"/>
    <dgm:cxn modelId="{6C61BB22-C27B-4C1C-A88E-DEFA0E25D27A}" type="presParOf" srcId="{E33317A7-1D63-4687-B3B7-3093EC873CC1}" destId="{9DD8EE72-9CCA-4683-8321-F2DD688EA5C9}" srcOrd="1" destOrd="0" presId="urn:microsoft.com/office/officeart/2005/8/layout/orgChart1"/>
    <dgm:cxn modelId="{46A5E921-FA7A-4299-99C7-D3FBDD45089F}" type="presParOf" srcId="{9DD8EE72-9CCA-4683-8321-F2DD688EA5C9}" destId="{4C9D9524-BD87-4435-8030-217EFB1039CB}" srcOrd="0" destOrd="0" presId="urn:microsoft.com/office/officeart/2005/8/layout/orgChart1"/>
    <dgm:cxn modelId="{8E829675-D9A5-4EC4-B44B-D576D98036EA}" type="presParOf" srcId="{4C9D9524-BD87-4435-8030-217EFB1039CB}" destId="{12FDE786-B43A-4B42-99F8-C2211595EB77}" srcOrd="0" destOrd="0" presId="urn:microsoft.com/office/officeart/2005/8/layout/orgChart1"/>
    <dgm:cxn modelId="{7719C07D-066B-474E-9CCA-E6496BA1EDCF}" type="presParOf" srcId="{4C9D9524-BD87-4435-8030-217EFB1039CB}" destId="{3A29F681-D4A4-44C5-9236-8AD04A389274}" srcOrd="1" destOrd="0" presId="urn:microsoft.com/office/officeart/2005/8/layout/orgChart1"/>
    <dgm:cxn modelId="{E30F7717-E74F-4B47-A5F9-EFF7160733B2}" type="presParOf" srcId="{9DD8EE72-9CCA-4683-8321-F2DD688EA5C9}" destId="{F7B9CC68-6952-4784-884C-116FF65B27E9}" srcOrd="1" destOrd="0" presId="urn:microsoft.com/office/officeart/2005/8/layout/orgChart1"/>
    <dgm:cxn modelId="{59823CD3-7D71-4F38-A886-AB413152155B}" type="presParOf" srcId="{9DD8EE72-9CCA-4683-8321-F2DD688EA5C9}" destId="{1C0C32A4-B715-4989-BCE8-61E63A301D44}" srcOrd="2" destOrd="0" presId="urn:microsoft.com/office/officeart/2005/8/layout/orgChart1"/>
    <dgm:cxn modelId="{B24133D9-8EDF-4EB7-BFC0-BEEE218074C4}" type="presParOf" srcId="{A7D37B88-EFAA-401E-82D3-DC48D89C278F}" destId="{05F4C6BD-C459-4F74-90E7-2F30776BD4F4}" srcOrd="2" destOrd="0" presId="urn:microsoft.com/office/officeart/2005/8/layout/orgChart1"/>
    <dgm:cxn modelId="{EA0A683D-7275-45AA-8608-87DA0EE08A48}" type="presParOf" srcId="{F3188C66-362E-4704-9DF2-4E8B6E97292B}" destId="{C151C31C-25C2-4337-AC99-2822AD37E02F}" srcOrd="4" destOrd="0" presId="urn:microsoft.com/office/officeart/2005/8/layout/orgChart1"/>
    <dgm:cxn modelId="{EF1ACDCC-9E93-40A3-BCEC-C86A141218A2}" type="presParOf" srcId="{F3188C66-362E-4704-9DF2-4E8B6E97292B}" destId="{1809839A-A18C-4B95-A479-4C2814467D50}" srcOrd="5" destOrd="0" presId="urn:microsoft.com/office/officeart/2005/8/layout/orgChart1"/>
    <dgm:cxn modelId="{CCEE1706-7429-4BE2-AD41-F878C4A56621}" type="presParOf" srcId="{1809839A-A18C-4B95-A479-4C2814467D50}" destId="{93824F26-7CF4-46C3-8E5A-81595714B2ED}" srcOrd="0" destOrd="0" presId="urn:microsoft.com/office/officeart/2005/8/layout/orgChart1"/>
    <dgm:cxn modelId="{52D2D6BE-EF7C-4CB6-9DCD-AF4BBF539DC9}" type="presParOf" srcId="{93824F26-7CF4-46C3-8E5A-81595714B2ED}" destId="{36BCA34E-F843-46A6-BBFD-A30F723E56ED}" srcOrd="0" destOrd="0" presId="urn:microsoft.com/office/officeart/2005/8/layout/orgChart1"/>
    <dgm:cxn modelId="{78F00C07-E38A-4CEB-AEAC-323D29AC496A}" type="presParOf" srcId="{93824F26-7CF4-46C3-8E5A-81595714B2ED}" destId="{DEB17EF0-688D-4151-9946-FA2C954A9904}" srcOrd="1" destOrd="0" presId="urn:microsoft.com/office/officeart/2005/8/layout/orgChart1"/>
    <dgm:cxn modelId="{BB2FFC68-CD2E-44EA-92F8-3C32A619E360}" type="presParOf" srcId="{1809839A-A18C-4B95-A479-4C2814467D50}" destId="{7A867C82-0263-409D-A96B-02C70EF86382}" srcOrd="1" destOrd="0" presId="urn:microsoft.com/office/officeart/2005/8/layout/orgChart1"/>
    <dgm:cxn modelId="{07497C47-0595-42EB-AAC8-E985633630CC}" type="presParOf" srcId="{7A867C82-0263-409D-A96B-02C70EF86382}" destId="{5BA862AD-D140-49CC-9FB6-7C47F88C939D}" srcOrd="0" destOrd="0" presId="urn:microsoft.com/office/officeart/2005/8/layout/orgChart1"/>
    <dgm:cxn modelId="{48D4B4E0-E995-4EE6-9D27-2B797E5FFD5A}" type="presParOf" srcId="{7A867C82-0263-409D-A96B-02C70EF86382}" destId="{A60A4152-9BC7-4D2F-9422-2FEC4EDAAF42}" srcOrd="1" destOrd="0" presId="urn:microsoft.com/office/officeart/2005/8/layout/orgChart1"/>
    <dgm:cxn modelId="{17582912-53B2-4FDB-BA1E-CDCC2CA9B086}" type="presParOf" srcId="{A60A4152-9BC7-4D2F-9422-2FEC4EDAAF42}" destId="{BE3AA7B5-CC05-4EC7-B063-98D93F712908}" srcOrd="0" destOrd="0" presId="urn:microsoft.com/office/officeart/2005/8/layout/orgChart1"/>
    <dgm:cxn modelId="{BA5394C4-79F1-45BA-B922-C11BF55F6C4C}" type="presParOf" srcId="{BE3AA7B5-CC05-4EC7-B063-98D93F712908}" destId="{F48610CF-BC20-453C-903A-3A027758BE49}" srcOrd="0" destOrd="0" presId="urn:microsoft.com/office/officeart/2005/8/layout/orgChart1"/>
    <dgm:cxn modelId="{17438020-7D21-45FD-957E-F29E2161DA55}" type="presParOf" srcId="{BE3AA7B5-CC05-4EC7-B063-98D93F712908}" destId="{61E84CFE-5293-4501-A181-D876103FF0E1}" srcOrd="1" destOrd="0" presId="urn:microsoft.com/office/officeart/2005/8/layout/orgChart1"/>
    <dgm:cxn modelId="{0995E144-18CA-4A17-810E-CB41BE505A67}" type="presParOf" srcId="{A60A4152-9BC7-4D2F-9422-2FEC4EDAAF42}" destId="{441B1848-CE6D-44DC-B6AA-D46DEB602582}" srcOrd="1" destOrd="0" presId="urn:microsoft.com/office/officeart/2005/8/layout/orgChart1"/>
    <dgm:cxn modelId="{12024FBB-5A1B-4000-9627-D5CBF7ED5708}" type="presParOf" srcId="{441B1848-CE6D-44DC-B6AA-D46DEB602582}" destId="{C8649BB8-80F3-4344-A95B-353AD602B72D}" srcOrd="0" destOrd="0" presId="urn:microsoft.com/office/officeart/2005/8/layout/orgChart1"/>
    <dgm:cxn modelId="{AEC7A9B1-B580-4798-AC4F-FE41E0E90E2D}" type="presParOf" srcId="{441B1848-CE6D-44DC-B6AA-D46DEB602582}" destId="{3EC6C799-393E-4238-82AF-FFF018645615}" srcOrd="1" destOrd="0" presId="urn:microsoft.com/office/officeart/2005/8/layout/orgChart1"/>
    <dgm:cxn modelId="{81956AFB-51A8-4B34-A948-4DA107D5C9AF}" type="presParOf" srcId="{3EC6C799-393E-4238-82AF-FFF018645615}" destId="{DF7E8B20-EB7C-485B-A0FF-6FD43BC3B511}" srcOrd="0" destOrd="0" presId="urn:microsoft.com/office/officeart/2005/8/layout/orgChart1"/>
    <dgm:cxn modelId="{8804E82D-B468-4B03-AF7C-CD22C5766204}" type="presParOf" srcId="{DF7E8B20-EB7C-485B-A0FF-6FD43BC3B511}" destId="{86B42267-F01B-4B3D-A41C-2CB56095381A}" srcOrd="0" destOrd="0" presId="urn:microsoft.com/office/officeart/2005/8/layout/orgChart1"/>
    <dgm:cxn modelId="{4C974A02-6B73-45DB-BD16-E283393A3BCC}" type="presParOf" srcId="{DF7E8B20-EB7C-485B-A0FF-6FD43BC3B511}" destId="{0678BCDC-E271-411E-BF4F-E8D4E12E424C}" srcOrd="1" destOrd="0" presId="urn:microsoft.com/office/officeart/2005/8/layout/orgChart1"/>
    <dgm:cxn modelId="{CF4FADDA-4FF0-4F56-866D-4DBFD63BA9D2}" type="presParOf" srcId="{3EC6C799-393E-4238-82AF-FFF018645615}" destId="{68E28595-C92E-414F-80CB-4BB321E5234C}" srcOrd="1" destOrd="0" presId="urn:microsoft.com/office/officeart/2005/8/layout/orgChart1"/>
    <dgm:cxn modelId="{23BCFB03-8E48-4456-9A54-E3B178A05E94}" type="presParOf" srcId="{3EC6C799-393E-4238-82AF-FFF018645615}" destId="{552D7B92-1EF9-4E8D-ACD6-08B25BDE434D}" srcOrd="2" destOrd="0" presId="urn:microsoft.com/office/officeart/2005/8/layout/orgChart1"/>
    <dgm:cxn modelId="{0C51D457-8DF7-4E91-B4AC-8214C1DA140F}" type="presParOf" srcId="{441B1848-CE6D-44DC-B6AA-D46DEB602582}" destId="{6D0E61C4-FD16-4220-A481-EF537436EED9}" srcOrd="2" destOrd="0" presId="urn:microsoft.com/office/officeart/2005/8/layout/orgChart1"/>
    <dgm:cxn modelId="{7C7AB13B-9963-45E1-BDA3-A745C9A98824}" type="presParOf" srcId="{441B1848-CE6D-44DC-B6AA-D46DEB602582}" destId="{BCEC2560-A052-46CA-98A1-93CF69A5C6F9}" srcOrd="3" destOrd="0" presId="urn:microsoft.com/office/officeart/2005/8/layout/orgChart1"/>
    <dgm:cxn modelId="{B92A5E2B-60AB-4580-95BD-DB751683DBD9}" type="presParOf" srcId="{BCEC2560-A052-46CA-98A1-93CF69A5C6F9}" destId="{7104C294-5021-48DB-8185-ACD5295DEC2E}" srcOrd="0" destOrd="0" presId="urn:microsoft.com/office/officeart/2005/8/layout/orgChart1"/>
    <dgm:cxn modelId="{BDFA8FE3-E2D9-412A-BEB7-DE2D5A3B8769}" type="presParOf" srcId="{7104C294-5021-48DB-8185-ACD5295DEC2E}" destId="{FE570036-8A62-4AEB-99B2-E93CF120D42B}" srcOrd="0" destOrd="0" presId="urn:microsoft.com/office/officeart/2005/8/layout/orgChart1"/>
    <dgm:cxn modelId="{93CEA301-BD3B-4C11-87C1-99CF31863BBE}" type="presParOf" srcId="{7104C294-5021-48DB-8185-ACD5295DEC2E}" destId="{28A03ECB-D246-4894-8B8D-369B5138B9CD}" srcOrd="1" destOrd="0" presId="urn:microsoft.com/office/officeart/2005/8/layout/orgChart1"/>
    <dgm:cxn modelId="{4CAE5190-34C8-4009-B6A3-FD1BD6CC8CA4}" type="presParOf" srcId="{BCEC2560-A052-46CA-98A1-93CF69A5C6F9}" destId="{018756C7-A2C3-4F79-80CD-287037FC082D}" srcOrd="1" destOrd="0" presId="urn:microsoft.com/office/officeart/2005/8/layout/orgChart1"/>
    <dgm:cxn modelId="{6B89B138-AFAD-43CA-AFB7-04A95C7781E2}" type="presParOf" srcId="{BCEC2560-A052-46CA-98A1-93CF69A5C6F9}" destId="{80AB4327-14C0-4C4D-9987-30AA1B06AFC8}" srcOrd="2" destOrd="0" presId="urn:microsoft.com/office/officeart/2005/8/layout/orgChart1"/>
    <dgm:cxn modelId="{147BFC3C-8E2F-4A5E-8E13-564DA6F98B5E}" type="presParOf" srcId="{441B1848-CE6D-44DC-B6AA-D46DEB602582}" destId="{406DBCB6-C65B-430B-961B-CA5647D55B29}" srcOrd="4" destOrd="0" presId="urn:microsoft.com/office/officeart/2005/8/layout/orgChart1"/>
    <dgm:cxn modelId="{7150E93F-659F-4C15-8980-7617ED74C893}" type="presParOf" srcId="{441B1848-CE6D-44DC-B6AA-D46DEB602582}" destId="{DB46429A-90FD-4D05-A4BD-27D331B918E9}" srcOrd="5" destOrd="0" presId="urn:microsoft.com/office/officeart/2005/8/layout/orgChart1"/>
    <dgm:cxn modelId="{93E4B047-9F20-4B09-B993-762D8AA778FA}" type="presParOf" srcId="{DB46429A-90FD-4D05-A4BD-27D331B918E9}" destId="{223BA641-DDF0-497C-A1B1-7B4F07CCD4BC}" srcOrd="0" destOrd="0" presId="urn:microsoft.com/office/officeart/2005/8/layout/orgChart1"/>
    <dgm:cxn modelId="{FBA2659D-0920-42F6-B39E-B1D3DF75DBCB}" type="presParOf" srcId="{223BA641-DDF0-497C-A1B1-7B4F07CCD4BC}" destId="{7B3EFF73-4445-4E9F-91E4-AD1CA79E10B8}" srcOrd="0" destOrd="0" presId="urn:microsoft.com/office/officeart/2005/8/layout/orgChart1"/>
    <dgm:cxn modelId="{E41956FA-E887-423D-8A18-7DC9DEBD670B}" type="presParOf" srcId="{223BA641-DDF0-497C-A1B1-7B4F07CCD4BC}" destId="{9656F0E0-C09C-4AEE-A592-2F634F1E19A3}" srcOrd="1" destOrd="0" presId="urn:microsoft.com/office/officeart/2005/8/layout/orgChart1"/>
    <dgm:cxn modelId="{551A9D83-1993-4A33-B02D-08D4CE6652EF}" type="presParOf" srcId="{DB46429A-90FD-4D05-A4BD-27D331B918E9}" destId="{8B096A9B-1533-4C8B-81E5-9982DCF53E30}" srcOrd="1" destOrd="0" presId="urn:microsoft.com/office/officeart/2005/8/layout/orgChart1"/>
    <dgm:cxn modelId="{DD73379F-EECE-4854-B3BB-4D16FBF158A8}" type="presParOf" srcId="{DB46429A-90FD-4D05-A4BD-27D331B918E9}" destId="{87EBA4F7-B4C4-4EE8-B6F3-E3473423FABF}" srcOrd="2" destOrd="0" presId="urn:microsoft.com/office/officeart/2005/8/layout/orgChart1"/>
    <dgm:cxn modelId="{B564857D-3CF5-4432-A7BF-466DACD7EBF0}" type="presParOf" srcId="{A60A4152-9BC7-4D2F-9422-2FEC4EDAAF42}" destId="{6DCBEDD7-B051-4559-B672-B8AD84E6E2F9}" srcOrd="2" destOrd="0" presId="urn:microsoft.com/office/officeart/2005/8/layout/orgChart1"/>
    <dgm:cxn modelId="{3BCA352D-E95C-47C9-BCBA-4B2965F92C45}" type="presParOf" srcId="{1809839A-A18C-4B95-A479-4C2814467D50}" destId="{9E10E4E5-FC86-4B24-AE64-D55CA560CEA5}" srcOrd="2" destOrd="0" presId="urn:microsoft.com/office/officeart/2005/8/layout/orgChart1"/>
    <dgm:cxn modelId="{4656052B-862E-4790-AEF0-F7F2C82DFDC3}" type="presParOf" srcId="{F3188C66-362E-4704-9DF2-4E8B6E97292B}" destId="{863F05BD-CBC5-4448-A2AB-059BECBD64D1}" srcOrd="6" destOrd="0" presId="urn:microsoft.com/office/officeart/2005/8/layout/orgChart1"/>
    <dgm:cxn modelId="{39062E72-0CB2-46A1-95B7-09027E54F252}" type="presParOf" srcId="{F3188C66-362E-4704-9DF2-4E8B6E97292B}" destId="{9E899C73-37CE-41CB-9379-9B30085EDC9C}" srcOrd="7" destOrd="0" presId="urn:microsoft.com/office/officeart/2005/8/layout/orgChart1"/>
    <dgm:cxn modelId="{83F5AACD-AFDE-4790-A987-CCA2B45C22C8}" type="presParOf" srcId="{9E899C73-37CE-41CB-9379-9B30085EDC9C}" destId="{0F223902-8A0A-4F55-904C-707B5A69C0A4}" srcOrd="0" destOrd="0" presId="urn:microsoft.com/office/officeart/2005/8/layout/orgChart1"/>
    <dgm:cxn modelId="{093D4F6C-C166-42E9-937E-AC5A09D106B7}" type="presParOf" srcId="{0F223902-8A0A-4F55-904C-707B5A69C0A4}" destId="{488DA6D9-E6C3-40A0-B6A0-28A27EF041AC}" srcOrd="0" destOrd="0" presId="urn:microsoft.com/office/officeart/2005/8/layout/orgChart1"/>
    <dgm:cxn modelId="{BD8DD627-0733-4E9D-8168-211933E49AE6}" type="presParOf" srcId="{0F223902-8A0A-4F55-904C-707B5A69C0A4}" destId="{C4B89880-00BC-46C0-89F4-414B073DAA56}" srcOrd="1" destOrd="0" presId="urn:microsoft.com/office/officeart/2005/8/layout/orgChart1"/>
    <dgm:cxn modelId="{D58E90C5-49AA-475E-B9AB-F9279C05E131}" type="presParOf" srcId="{9E899C73-37CE-41CB-9379-9B30085EDC9C}" destId="{13507315-D4F3-4CAE-AC58-2786E3716798}" srcOrd="1" destOrd="0" presId="urn:microsoft.com/office/officeart/2005/8/layout/orgChart1"/>
    <dgm:cxn modelId="{230A932A-B9B8-4A2F-891E-A03C06DA530F}" type="presParOf" srcId="{9E899C73-37CE-41CB-9379-9B30085EDC9C}" destId="{1D29682E-D4D6-4896-9130-83620940DD01}" srcOrd="2" destOrd="0" presId="urn:microsoft.com/office/officeart/2005/8/layout/orgChart1"/>
    <dgm:cxn modelId="{19B15A33-1BEB-4AFE-9BB0-324955AC6FA4}" type="presParOf" srcId="{F3188C66-362E-4704-9DF2-4E8B6E97292B}" destId="{3C36ED40-E124-4FEE-8336-4BD689E13C38}" srcOrd="8" destOrd="0" presId="urn:microsoft.com/office/officeart/2005/8/layout/orgChart1"/>
    <dgm:cxn modelId="{2129FF95-5E31-4C33-9AAC-A573FA5F62A7}" type="presParOf" srcId="{F3188C66-362E-4704-9DF2-4E8B6E97292B}" destId="{83024A82-0EE9-40E7-8186-FD7AEBA990EC}" srcOrd="9" destOrd="0" presId="urn:microsoft.com/office/officeart/2005/8/layout/orgChart1"/>
    <dgm:cxn modelId="{9CD28A57-EBA9-47ED-9FD3-AE66DAFF9691}" type="presParOf" srcId="{83024A82-0EE9-40E7-8186-FD7AEBA990EC}" destId="{4EF4F311-E5DF-4D20-9B1D-30D769AB2746}" srcOrd="0" destOrd="0" presId="urn:microsoft.com/office/officeart/2005/8/layout/orgChart1"/>
    <dgm:cxn modelId="{31822C34-8C07-48E7-8815-D6B2409888FF}" type="presParOf" srcId="{4EF4F311-E5DF-4D20-9B1D-30D769AB2746}" destId="{00860F35-D106-45FF-A4FB-81303854F36A}" srcOrd="0" destOrd="0" presId="urn:microsoft.com/office/officeart/2005/8/layout/orgChart1"/>
    <dgm:cxn modelId="{3B5E3C3E-D570-4B56-98BF-4D2F91CE62E1}" type="presParOf" srcId="{4EF4F311-E5DF-4D20-9B1D-30D769AB2746}" destId="{4A4C036F-8296-4DBD-8845-13D50EEAEAB1}" srcOrd="1" destOrd="0" presId="urn:microsoft.com/office/officeart/2005/8/layout/orgChart1"/>
    <dgm:cxn modelId="{9EBC401A-8939-4DE2-8396-A9966C4E35C0}" type="presParOf" srcId="{83024A82-0EE9-40E7-8186-FD7AEBA990EC}" destId="{D2B40584-DFFC-43E5-A05C-097160D70997}" srcOrd="1" destOrd="0" presId="urn:microsoft.com/office/officeart/2005/8/layout/orgChart1"/>
    <dgm:cxn modelId="{D67D1D61-39A3-4665-ACA1-89CA08599A1D}" type="presParOf" srcId="{83024A82-0EE9-40E7-8186-FD7AEBA990EC}" destId="{42600A6B-0BA7-4C7D-AE7F-503751A28D84}" srcOrd="2" destOrd="0" presId="urn:microsoft.com/office/officeart/2005/8/layout/orgChart1"/>
    <dgm:cxn modelId="{85220AAE-EFE2-4448-92A5-38AB8634CE1F}" type="presParOf" srcId="{F3188C66-362E-4704-9DF2-4E8B6E97292B}" destId="{63E1B64F-6459-4657-8379-1BED33DD1089}" srcOrd="10" destOrd="0" presId="urn:microsoft.com/office/officeart/2005/8/layout/orgChart1"/>
    <dgm:cxn modelId="{3D2CC497-1EB4-47E2-9604-40C0FCBB0E4F}" type="presParOf" srcId="{F3188C66-362E-4704-9DF2-4E8B6E97292B}" destId="{0443CA4C-3159-4701-BBEE-AE34A5276973}" srcOrd="11" destOrd="0" presId="urn:microsoft.com/office/officeart/2005/8/layout/orgChart1"/>
    <dgm:cxn modelId="{E802D6B8-B63A-4D59-83CF-2775D100F6D8}" type="presParOf" srcId="{0443CA4C-3159-4701-BBEE-AE34A5276973}" destId="{BDA16D08-B9EC-44BF-9862-0B3752F66D8A}" srcOrd="0" destOrd="0" presId="urn:microsoft.com/office/officeart/2005/8/layout/orgChart1"/>
    <dgm:cxn modelId="{2B023AB0-5700-4E33-A324-E0B099BEF942}" type="presParOf" srcId="{BDA16D08-B9EC-44BF-9862-0B3752F66D8A}" destId="{0C6EB58B-B038-4699-AB13-FFEE57B78034}" srcOrd="0" destOrd="0" presId="urn:microsoft.com/office/officeart/2005/8/layout/orgChart1"/>
    <dgm:cxn modelId="{6A35D816-74A9-406F-9A61-AC98A329D92F}" type="presParOf" srcId="{BDA16D08-B9EC-44BF-9862-0B3752F66D8A}" destId="{5DFCAB16-8708-41F1-85FD-356285A07F4B}" srcOrd="1" destOrd="0" presId="urn:microsoft.com/office/officeart/2005/8/layout/orgChart1"/>
    <dgm:cxn modelId="{BCF58E79-ADBB-43A7-98BD-733C57025A97}" type="presParOf" srcId="{0443CA4C-3159-4701-BBEE-AE34A5276973}" destId="{93154C7D-ABB3-417C-9EB5-FC4685D35EEC}" srcOrd="1" destOrd="0" presId="urn:microsoft.com/office/officeart/2005/8/layout/orgChart1"/>
    <dgm:cxn modelId="{2B69177C-130B-48BE-A423-7CA237F9C207}" type="presParOf" srcId="{93154C7D-ABB3-417C-9EB5-FC4685D35EEC}" destId="{34746820-AED3-4B8D-9939-579F5175DD0B}" srcOrd="0" destOrd="0" presId="urn:microsoft.com/office/officeart/2005/8/layout/orgChart1"/>
    <dgm:cxn modelId="{3FD371A8-B4E4-4EE5-89DA-8B04D5AEF726}" type="presParOf" srcId="{93154C7D-ABB3-417C-9EB5-FC4685D35EEC}" destId="{08566E25-CC12-49BA-A040-74B3D356457A}" srcOrd="1" destOrd="0" presId="urn:microsoft.com/office/officeart/2005/8/layout/orgChart1"/>
    <dgm:cxn modelId="{D1CDF7E5-BE2E-4983-BD7E-871B96D04353}" type="presParOf" srcId="{08566E25-CC12-49BA-A040-74B3D356457A}" destId="{779FC70F-68FB-4A85-8A9B-9B0B7169A639}" srcOrd="0" destOrd="0" presId="urn:microsoft.com/office/officeart/2005/8/layout/orgChart1"/>
    <dgm:cxn modelId="{2B78B624-65E1-4042-8E1D-AF2DBAFC9C3E}" type="presParOf" srcId="{779FC70F-68FB-4A85-8A9B-9B0B7169A639}" destId="{7C916EDB-4332-4149-AC17-C3C9C500D49F}" srcOrd="0" destOrd="0" presId="urn:microsoft.com/office/officeart/2005/8/layout/orgChart1"/>
    <dgm:cxn modelId="{F233EDFD-0F4E-499C-8B8D-689DCD00B772}" type="presParOf" srcId="{779FC70F-68FB-4A85-8A9B-9B0B7169A639}" destId="{D307E0A6-AA33-40B9-8C3E-8F720DC938BF}" srcOrd="1" destOrd="0" presId="urn:microsoft.com/office/officeart/2005/8/layout/orgChart1"/>
    <dgm:cxn modelId="{CDB61D23-4054-418C-8151-8850453F9E37}" type="presParOf" srcId="{08566E25-CC12-49BA-A040-74B3D356457A}" destId="{F751003B-C919-4B79-8766-6E10009F0A20}" srcOrd="1" destOrd="0" presId="urn:microsoft.com/office/officeart/2005/8/layout/orgChart1"/>
    <dgm:cxn modelId="{99A8A2CF-8603-42E2-ADE2-5E7CFC19ACC8}" type="presParOf" srcId="{08566E25-CC12-49BA-A040-74B3D356457A}" destId="{C08B5610-493D-4A1F-BEE5-B43A8E9E6357}" srcOrd="2" destOrd="0" presId="urn:microsoft.com/office/officeart/2005/8/layout/orgChart1"/>
    <dgm:cxn modelId="{88FB86C5-5BB1-433C-9499-F7F08FCCD664}" type="presParOf" srcId="{93154C7D-ABB3-417C-9EB5-FC4685D35EEC}" destId="{1A2A86F8-D710-43F6-8DED-53BC15EA3353}" srcOrd="2" destOrd="0" presId="urn:microsoft.com/office/officeart/2005/8/layout/orgChart1"/>
    <dgm:cxn modelId="{9ACB06D3-66C5-4CF0-8C13-4B457CC4F4B4}" type="presParOf" srcId="{93154C7D-ABB3-417C-9EB5-FC4685D35EEC}" destId="{184DA139-B670-4587-8BEF-2802AEFD3DBC}" srcOrd="3" destOrd="0" presId="urn:microsoft.com/office/officeart/2005/8/layout/orgChart1"/>
    <dgm:cxn modelId="{59DD9175-1A45-40A1-9FD3-17C05085EFF5}" type="presParOf" srcId="{184DA139-B670-4587-8BEF-2802AEFD3DBC}" destId="{55CED961-0BC5-4E77-B072-2DCD711258C9}" srcOrd="0" destOrd="0" presId="urn:microsoft.com/office/officeart/2005/8/layout/orgChart1"/>
    <dgm:cxn modelId="{DC219E8C-FF82-48F6-8F3B-390D8616A01C}" type="presParOf" srcId="{55CED961-0BC5-4E77-B072-2DCD711258C9}" destId="{ECEB9ECE-C8B2-4500-BF69-9285F2F8B60D}" srcOrd="0" destOrd="0" presId="urn:microsoft.com/office/officeart/2005/8/layout/orgChart1"/>
    <dgm:cxn modelId="{7B3D895F-9031-4920-9DB0-EAD2C7CBAE9A}" type="presParOf" srcId="{55CED961-0BC5-4E77-B072-2DCD711258C9}" destId="{68732088-6569-4901-B7B2-17CD28EB3CFD}" srcOrd="1" destOrd="0" presId="urn:microsoft.com/office/officeart/2005/8/layout/orgChart1"/>
    <dgm:cxn modelId="{3693C826-4076-47EB-912B-51D2141E3192}" type="presParOf" srcId="{184DA139-B670-4587-8BEF-2802AEFD3DBC}" destId="{9B99A176-52ED-4687-950F-6041AE8EF8B0}" srcOrd="1" destOrd="0" presId="urn:microsoft.com/office/officeart/2005/8/layout/orgChart1"/>
    <dgm:cxn modelId="{2DDF0970-212A-4ACE-9C3E-E3156A085F31}" type="presParOf" srcId="{184DA139-B670-4587-8BEF-2802AEFD3DBC}" destId="{FC5F6884-388C-4198-817C-8A5DDA597EF4}" srcOrd="2" destOrd="0" presId="urn:microsoft.com/office/officeart/2005/8/layout/orgChart1"/>
    <dgm:cxn modelId="{74D6CECB-7616-4E12-A5EB-A5AE095445E7}" type="presParOf" srcId="{0443CA4C-3159-4701-BBEE-AE34A5276973}" destId="{8E6737CB-F13F-4228-8F4B-55B48D625137}" srcOrd="2" destOrd="0" presId="urn:microsoft.com/office/officeart/2005/8/layout/orgChart1"/>
    <dgm:cxn modelId="{44E59A37-8BE9-4440-9F1E-FA3394338EDB}" type="presParOf" srcId="{75A84605-F0B9-42A4-9A8C-6A707A863A27}" destId="{D7829969-72C2-4F69-8F14-C8D89FB89A04}" srcOrd="2" destOrd="0" presId="urn:microsoft.com/office/officeart/2005/8/layout/orgChart1"/>
    <dgm:cxn modelId="{0C9DA46D-1D27-4791-B014-830DD7CFD57D}" type="presParOf" srcId="{C139C701-8952-4151-8132-F5AA1053A8CC}" destId="{DFB36E5E-BBA1-4453-9A2E-0D0FF3E3D30B}" srcOrd="4" destOrd="0" presId="urn:microsoft.com/office/officeart/2005/8/layout/orgChart1"/>
    <dgm:cxn modelId="{27B339B1-4EF3-4C31-B682-544D4B28EC80}" type="presParOf" srcId="{C139C701-8952-4151-8132-F5AA1053A8CC}" destId="{F5FCDE4E-8361-4C61-A497-95520CF3DAA8}" srcOrd="5" destOrd="0" presId="urn:microsoft.com/office/officeart/2005/8/layout/orgChart1"/>
    <dgm:cxn modelId="{C290FB87-FFAF-408C-9047-2302EA906A86}" type="presParOf" srcId="{F5FCDE4E-8361-4C61-A497-95520CF3DAA8}" destId="{67650F49-1734-4411-85EC-D53C3779980D}" srcOrd="0" destOrd="0" presId="urn:microsoft.com/office/officeart/2005/8/layout/orgChart1"/>
    <dgm:cxn modelId="{9AE01CB8-F244-43AC-81F4-CB4E28176F6D}" type="presParOf" srcId="{67650F49-1734-4411-85EC-D53C3779980D}" destId="{64B1788A-2800-4E52-B4CC-251E5B268638}" srcOrd="0" destOrd="0" presId="urn:microsoft.com/office/officeart/2005/8/layout/orgChart1"/>
    <dgm:cxn modelId="{B1F29FE1-8E74-4774-A723-E980482212D8}" type="presParOf" srcId="{67650F49-1734-4411-85EC-D53C3779980D}" destId="{F4EA5339-5D1F-4AEF-8DDA-A75CBA748561}" srcOrd="1" destOrd="0" presId="urn:microsoft.com/office/officeart/2005/8/layout/orgChart1"/>
    <dgm:cxn modelId="{B2174AB9-ECF0-4212-A3CE-EE5D89592997}" type="presParOf" srcId="{F5FCDE4E-8361-4C61-A497-95520CF3DAA8}" destId="{8D1223F5-8725-41D6-B120-5E9F6BCF1345}" srcOrd="1" destOrd="0" presId="urn:microsoft.com/office/officeart/2005/8/layout/orgChart1"/>
    <dgm:cxn modelId="{A91A2A40-E1E5-42C2-94B6-CA76FEC3768F}" type="presParOf" srcId="{F5FCDE4E-8361-4C61-A497-95520CF3DAA8}" destId="{42FAFE9D-AD86-424F-91C4-D98FC5538C31}" srcOrd="2" destOrd="0" presId="urn:microsoft.com/office/officeart/2005/8/layout/orgChart1"/>
    <dgm:cxn modelId="{85B9BF83-A0C6-4350-822F-DB6DDE98EAA5}" type="presParOf" srcId="{C139C701-8952-4151-8132-F5AA1053A8CC}" destId="{779BD986-0758-4BEF-A3D3-AB7B6F6B6346}" srcOrd="6" destOrd="0" presId="urn:microsoft.com/office/officeart/2005/8/layout/orgChart1"/>
    <dgm:cxn modelId="{B9B7B555-2C44-4081-8F68-3A6AF24C775C}" type="presParOf" srcId="{C139C701-8952-4151-8132-F5AA1053A8CC}" destId="{BE3CA472-B0A9-48B0-B687-E856631B1C28}" srcOrd="7" destOrd="0" presId="urn:microsoft.com/office/officeart/2005/8/layout/orgChart1"/>
    <dgm:cxn modelId="{4796FF00-4918-4F71-9982-CDBE002438BD}" type="presParOf" srcId="{BE3CA472-B0A9-48B0-B687-E856631B1C28}" destId="{68F83DF0-DEDD-481A-AA61-0D1ACC455D17}" srcOrd="0" destOrd="0" presId="urn:microsoft.com/office/officeart/2005/8/layout/orgChart1"/>
    <dgm:cxn modelId="{B3621720-A9C2-43A8-B33E-844CD108BAB9}" type="presParOf" srcId="{68F83DF0-DEDD-481A-AA61-0D1ACC455D17}" destId="{B98263AC-9709-4990-896A-3AAEACA1FA3B}" srcOrd="0" destOrd="0" presId="urn:microsoft.com/office/officeart/2005/8/layout/orgChart1"/>
    <dgm:cxn modelId="{FF013D52-15C9-4A80-903C-40E27C332A2E}" type="presParOf" srcId="{68F83DF0-DEDD-481A-AA61-0D1ACC455D17}" destId="{6348D6E8-9ABB-491F-B944-949E09C467A7}" srcOrd="1" destOrd="0" presId="urn:microsoft.com/office/officeart/2005/8/layout/orgChart1"/>
    <dgm:cxn modelId="{BC3101B7-A8C4-4919-A391-F99F6FA57B27}" type="presParOf" srcId="{BE3CA472-B0A9-48B0-B687-E856631B1C28}" destId="{FB4579E9-3FCA-47D6-BB03-05E21DDA5A12}" srcOrd="1" destOrd="0" presId="urn:microsoft.com/office/officeart/2005/8/layout/orgChart1"/>
    <dgm:cxn modelId="{7405A426-ACC5-4D98-842B-13A582929C80}" type="presParOf" srcId="{FB4579E9-3FCA-47D6-BB03-05E21DDA5A12}" destId="{9981BDD9-5B61-4D8C-BC03-57FAB22AF4D2}" srcOrd="0" destOrd="0" presId="urn:microsoft.com/office/officeart/2005/8/layout/orgChart1"/>
    <dgm:cxn modelId="{45EFCE23-F1A3-4832-BE3E-B6E20141A118}" type="presParOf" srcId="{FB4579E9-3FCA-47D6-BB03-05E21DDA5A12}" destId="{24A7E6D5-7284-42C3-8423-5F3A14D77F01}" srcOrd="1" destOrd="0" presId="urn:microsoft.com/office/officeart/2005/8/layout/orgChart1"/>
    <dgm:cxn modelId="{16C0FB80-727E-429B-88EA-E950FDBC6811}" type="presParOf" srcId="{24A7E6D5-7284-42C3-8423-5F3A14D77F01}" destId="{DE235788-2D65-46EC-92BD-FCC5943BD484}" srcOrd="0" destOrd="0" presId="urn:microsoft.com/office/officeart/2005/8/layout/orgChart1"/>
    <dgm:cxn modelId="{B71145A4-1F5E-4BC2-8927-E71363AEA465}" type="presParOf" srcId="{DE235788-2D65-46EC-92BD-FCC5943BD484}" destId="{70594EC9-F986-494D-ADE6-E61F69D4FDD0}" srcOrd="0" destOrd="0" presId="urn:microsoft.com/office/officeart/2005/8/layout/orgChart1"/>
    <dgm:cxn modelId="{DB5C28BA-51BA-4632-9BB6-18EE96A086A3}" type="presParOf" srcId="{DE235788-2D65-46EC-92BD-FCC5943BD484}" destId="{F5B49664-1DE8-43D9-BA93-B346F847CF17}" srcOrd="1" destOrd="0" presId="urn:microsoft.com/office/officeart/2005/8/layout/orgChart1"/>
    <dgm:cxn modelId="{D1AE5696-EF02-4C7B-A78F-523E9A0337CD}" type="presParOf" srcId="{24A7E6D5-7284-42C3-8423-5F3A14D77F01}" destId="{7ACA08FA-BDB8-4F09-93B1-9B12EE3E0160}" srcOrd="1" destOrd="0" presId="urn:microsoft.com/office/officeart/2005/8/layout/orgChart1"/>
    <dgm:cxn modelId="{8C3C0E75-8E43-49C3-9F07-FCC4CACAB516}" type="presParOf" srcId="{24A7E6D5-7284-42C3-8423-5F3A14D77F01}" destId="{7816F6FF-9B3C-429B-A64C-6923AECC5C23}" srcOrd="2" destOrd="0" presId="urn:microsoft.com/office/officeart/2005/8/layout/orgChart1"/>
    <dgm:cxn modelId="{8E66E61E-2044-4637-BE23-0ABCC8741906}" type="presParOf" srcId="{FB4579E9-3FCA-47D6-BB03-05E21DDA5A12}" destId="{56CA0D62-2077-4404-8EBD-E967E4D80D32}" srcOrd="2" destOrd="0" presId="urn:microsoft.com/office/officeart/2005/8/layout/orgChart1"/>
    <dgm:cxn modelId="{7AD20FEB-270E-4DA0-B96A-D0D1210FF5EC}" type="presParOf" srcId="{FB4579E9-3FCA-47D6-BB03-05E21DDA5A12}" destId="{7B6AC654-3CBA-4FE3-B120-EE39157DD096}" srcOrd="3" destOrd="0" presId="urn:microsoft.com/office/officeart/2005/8/layout/orgChart1"/>
    <dgm:cxn modelId="{E039F572-D1E8-4E3F-BC2F-1FC6B5869A8A}" type="presParOf" srcId="{7B6AC654-3CBA-4FE3-B120-EE39157DD096}" destId="{2D060E53-4E15-47DA-B3C7-C023260D44D9}" srcOrd="0" destOrd="0" presId="urn:microsoft.com/office/officeart/2005/8/layout/orgChart1"/>
    <dgm:cxn modelId="{7DDB53E6-B7DB-43DE-AEEA-92A1D50462BC}" type="presParOf" srcId="{2D060E53-4E15-47DA-B3C7-C023260D44D9}" destId="{6AF774BF-8E84-45A0-8655-A0F2F3D66D3F}" srcOrd="0" destOrd="0" presId="urn:microsoft.com/office/officeart/2005/8/layout/orgChart1"/>
    <dgm:cxn modelId="{E268E268-08F2-4624-9155-3849E0964224}" type="presParOf" srcId="{2D060E53-4E15-47DA-B3C7-C023260D44D9}" destId="{D7908B68-CDB3-4940-B51F-FF422CC2566E}" srcOrd="1" destOrd="0" presId="urn:microsoft.com/office/officeart/2005/8/layout/orgChart1"/>
    <dgm:cxn modelId="{5E8B8089-316A-4ED3-8BF7-93A101D83C98}" type="presParOf" srcId="{7B6AC654-3CBA-4FE3-B120-EE39157DD096}" destId="{C1B6F609-0109-4D2F-A1BF-7C86E9F8D18E}" srcOrd="1" destOrd="0" presId="urn:microsoft.com/office/officeart/2005/8/layout/orgChart1"/>
    <dgm:cxn modelId="{37F74416-EB4A-4080-9B57-F4112B8633E6}" type="presParOf" srcId="{7B6AC654-3CBA-4FE3-B120-EE39157DD096}" destId="{394124AB-7CCD-4133-B6E5-DA80C023EB37}" srcOrd="2" destOrd="0" presId="urn:microsoft.com/office/officeart/2005/8/layout/orgChart1"/>
    <dgm:cxn modelId="{C69B9E0C-6727-4BD9-987E-EDD00F2DC690}" type="presParOf" srcId="{FB4579E9-3FCA-47D6-BB03-05E21DDA5A12}" destId="{7C0871BC-91F7-4004-942B-913E7593B30D}" srcOrd="4" destOrd="0" presId="urn:microsoft.com/office/officeart/2005/8/layout/orgChart1"/>
    <dgm:cxn modelId="{6343EE8C-886A-4D58-98DF-82843B531616}" type="presParOf" srcId="{FB4579E9-3FCA-47D6-BB03-05E21DDA5A12}" destId="{E2583D22-852F-43B6-974C-C53B4AE6552D}" srcOrd="5" destOrd="0" presId="urn:microsoft.com/office/officeart/2005/8/layout/orgChart1"/>
    <dgm:cxn modelId="{D5CE16C1-F092-4B1E-B2DF-4FFE27478BD3}" type="presParOf" srcId="{E2583D22-852F-43B6-974C-C53B4AE6552D}" destId="{4C22B07C-134E-4E49-A91A-C4347D09444A}" srcOrd="0" destOrd="0" presId="urn:microsoft.com/office/officeart/2005/8/layout/orgChart1"/>
    <dgm:cxn modelId="{CF985279-24C0-4B5D-92B0-347EB6CC025C}" type="presParOf" srcId="{4C22B07C-134E-4E49-A91A-C4347D09444A}" destId="{262E21F6-0749-4341-B130-E432811FD604}" srcOrd="0" destOrd="0" presId="urn:microsoft.com/office/officeart/2005/8/layout/orgChart1"/>
    <dgm:cxn modelId="{5E141972-ABD8-410C-925C-1451463DC4D1}" type="presParOf" srcId="{4C22B07C-134E-4E49-A91A-C4347D09444A}" destId="{FA59D648-B65C-4A4D-B56D-86288F1452B3}" srcOrd="1" destOrd="0" presId="urn:microsoft.com/office/officeart/2005/8/layout/orgChart1"/>
    <dgm:cxn modelId="{F42E3EB6-9023-4A60-9BA1-53253D71E243}" type="presParOf" srcId="{E2583D22-852F-43B6-974C-C53B4AE6552D}" destId="{9B6D3252-4E87-4E97-9321-1D9DBDF484B4}" srcOrd="1" destOrd="0" presId="urn:microsoft.com/office/officeart/2005/8/layout/orgChart1"/>
    <dgm:cxn modelId="{09827DED-A7B0-4B46-998B-24F121CDC535}" type="presParOf" srcId="{E2583D22-852F-43B6-974C-C53B4AE6552D}" destId="{EAB5F180-25A9-4DC8-8C01-1317321EA626}" srcOrd="2" destOrd="0" presId="urn:microsoft.com/office/officeart/2005/8/layout/orgChart1"/>
    <dgm:cxn modelId="{C1F6B5FA-1ECF-48B6-A591-DC269F1B30A9}" type="presParOf" srcId="{FB4579E9-3FCA-47D6-BB03-05E21DDA5A12}" destId="{F3D394A0-E10E-4634-9BE5-C6B2C50B8221}" srcOrd="6" destOrd="0" presId="urn:microsoft.com/office/officeart/2005/8/layout/orgChart1"/>
    <dgm:cxn modelId="{B1F15CDD-393E-483D-A52B-E41E825AA119}" type="presParOf" srcId="{FB4579E9-3FCA-47D6-BB03-05E21DDA5A12}" destId="{7B35DD84-3DC7-45AA-BA58-2236348AC82D}" srcOrd="7" destOrd="0" presId="urn:microsoft.com/office/officeart/2005/8/layout/orgChart1"/>
    <dgm:cxn modelId="{087EB2F2-38E5-4CD2-9FE0-EBB3B7AB5E87}" type="presParOf" srcId="{7B35DD84-3DC7-45AA-BA58-2236348AC82D}" destId="{1FF97D24-B33A-4969-B881-35DEEA7E253C}" srcOrd="0" destOrd="0" presId="urn:microsoft.com/office/officeart/2005/8/layout/orgChart1"/>
    <dgm:cxn modelId="{44AC0449-79E1-4FA3-8E56-7F739D3DE6F3}" type="presParOf" srcId="{1FF97D24-B33A-4969-B881-35DEEA7E253C}" destId="{F18CCF2D-F56B-4D1A-95EA-30A367D1EC9F}" srcOrd="0" destOrd="0" presId="urn:microsoft.com/office/officeart/2005/8/layout/orgChart1"/>
    <dgm:cxn modelId="{5D5CB073-AB57-4849-9BC1-3119C15854A1}" type="presParOf" srcId="{1FF97D24-B33A-4969-B881-35DEEA7E253C}" destId="{6FCA7BCF-DEED-450B-82C5-942D5A54581C}" srcOrd="1" destOrd="0" presId="urn:microsoft.com/office/officeart/2005/8/layout/orgChart1"/>
    <dgm:cxn modelId="{5C3ED258-F313-41FD-8C9E-6AC7A405E7C6}" type="presParOf" srcId="{7B35DD84-3DC7-45AA-BA58-2236348AC82D}" destId="{F3AF32B7-1EF3-4936-AB0F-DB3F47CF44FA}" srcOrd="1" destOrd="0" presId="urn:microsoft.com/office/officeart/2005/8/layout/orgChart1"/>
    <dgm:cxn modelId="{215BDB5B-AD3E-46C2-BB88-F4525A5E9E96}" type="presParOf" srcId="{7B35DD84-3DC7-45AA-BA58-2236348AC82D}" destId="{05F48F9B-1232-4FC5-B600-F997B672CE1D}" srcOrd="2" destOrd="0" presId="urn:microsoft.com/office/officeart/2005/8/layout/orgChart1"/>
    <dgm:cxn modelId="{36CE53B8-BA23-409B-8803-39F5A659960D}" type="presParOf" srcId="{FB4579E9-3FCA-47D6-BB03-05E21DDA5A12}" destId="{72563BEF-C03A-4B18-8E1F-DDF1D3177705}" srcOrd="8" destOrd="0" presId="urn:microsoft.com/office/officeart/2005/8/layout/orgChart1"/>
    <dgm:cxn modelId="{040BB959-98BF-4A68-90E6-B085D67B6123}" type="presParOf" srcId="{FB4579E9-3FCA-47D6-BB03-05E21DDA5A12}" destId="{29E8BD49-7E8F-4F90-8A13-E3AF9EC0E365}" srcOrd="9" destOrd="0" presId="urn:microsoft.com/office/officeart/2005/8/layout/orgChart1"/>
    <dgm:cxn modelId="{5194BA05-CF36-47EE-9603-8971CA3E73E6}" type="presParOf" srcId="{29E8BD49-7E8F-4F90-8A13-E3AF9EC0E365}" destId="{A6232C43-20FE-48E9-A688-9A727D3C2DCD}" srcOrd="0" destOrd="0" presId="urn:microsoft.com/office/officeart/2005/8/layout/orgChart1"/>
    <dgm:cxn modelId="{777B5484-BCD9-4BBE-81DA-19C4D9A85A32}" type="presParOf" srcId="{A6232C43-20FE-48E9-A688-9A727D3C2DCD}" destId="{B28B2226-FC5E-43A3-9CE3-5D04B7AC84C4}" srcOrd="0" destOrd="0" presId="urn:microsoft.com/office/officeart/2005/8/layout/orgChart1"/>
    <dgm:cxn modelId="{16AA5011-44A4-4A3E-9E0D-FBAA4077864A}" type="presParOf" srcId="{A6232C43-20FE-48E9-A688-9A727D3C2DCD}" destId="{9D4ABC46-073B-442A-815C-4DD51238D694}" srcOrd="1" destOrd="0" presId="urn:microsoft.com/office/officeart/2005/8/layout/orgChart1"/>
    <dgm:cxn modelId="{E86A8724-564A-4225-B1C3-90A0293FB751}" type="presParOf" srcId="{29E8BD49-7E8F-4F90-8A13-E3AF9EC0E365}" destId="{BE4DE79D-F243-421D-B4E4-F60DE7BAB5B1}" srcOrd="1" destOrd="0" presId="urn:microsoft.com/office/officeart/2005/8/layout/orgChart1"/>
    <dgm:cxn modelId="{95FEACEE-E69B-4D2D-B5C3-1D4FEC18A109}" type="presParOf" srcId="{29E8BD49-7E8F-4F90-8A13-E3AF9EC0E365}" destId="{1E5A3905-BC1E-4DF1-88B4-FF8319ECFA3A}" srcOrd="2" destOrd="0" presId="urn:microsoft.com/office/officeart/2005/8/layout/orgChart1"/>
    <dgm:cxn modelId="{1BA26596-230A-4482-AEC4-957C64ECA5A3}" type="presParOf" srcId="{FB4579E9-3FCA-47D6-BB03-05E21DDA5A12}" destId="{8570632C-E482-4D89-80E7-9CA542E4A966}" srcOrd="10" destOrd="0" presId="urn:microsoft.com/office/officeart/2005/8/layout/orgChart1"/>
    <dgm:cxn modelId="{2B952A92-BF5B-4159-B058-31446F750FEC}" type="presParOf" srcId="{FB4579E9-3FCA-47D6-BB03-05E21DDA5A12}" destId="{0D80E68F-3C0A-4405-82FF-CD851B7DF987}" srcOrd="11" destOrd="0" presId="urn:microsoft.com/office/officeart/2005/8/layout/orgChart1"/>
    <dgm:cxn modelId="{8070448D-A97C-43F2-A75B-6D27D8106AD7}" type="presParOf" srcId="{0D80E68F-3C0A-4405-82FF-CD851B7DF987}" destId="{59821EF3-77F5-4603-AF53-51E7CF3B59B8}" srcOrd="0" destOrd="0" presId="urn:microsoft.com/office/officeart/2005/8/layout/orgChart1"/>
    <dgm:cxn modelId="{A6A49F65-F824-48AD-9CCB-28726372A76C}" type="presParOf" srcId="{59821EF3-77F5-4603-AF53-51E7CF3B59B8}" destId="{D1D21F78-21FA-4F79-8198-49AF02F8DDC4}" srcOrd="0" destOrd="0" presId="urn:microsoft.com/office/officeart/2005/8/layout/orgChart1"/>
    <dgm:cxn modelId="{78A5CE37-95C1-4B9D-A1A2-9985B8039877}" type="presParOf" srcId="{59821EF3-77F5-4603-AF53-51E7CF3B59B8}" destId="{E9F7E52F-EC42-43C6-9BC7-5FADF1E36BC9}" srcOrd="1" destOrd="0" presId="urn:microsoft.com/office/officeart/2005/8/layout/orgChart1"/>
    <dgm:cxn modelId="{33CA14B1-21EF-49BB-8274-A3FE05D55D13}" type="presParOf" srcId="{0D80E68F-3C0A-4405-82FF-CD851B7DF987}" destId="{BAB4BC9E-27BE-4509-A96B-132389003C54}" srcOrd="1" destOrd="0" presId="urn:microsoft.com/office/officeart/2005/8/layout/orgChart1"/>
    <dgm:cxn modelId="{37518907-22D2-431D-AA4A-323B22C2AA26}" type="presParOf" srcId="{0D80E68F-3C0A-4405-82FF-CD851B7DF987}" destId="{586239C0-55A6-4EE6-AA0F-B002645ADC27}" srcOrd="2" destOrd="0" presId="urn:microsoft.com/office/officeart/2005/8/layout/orgChart1"/>
    <dgm:cxn modelId="{297915EC-65CB-40C3-BEA0-B039FDB4EAF7}" type="presParOf" srcId="{BE3CA472-B0A9-48B0-B687-E856631B1C28}" destId="{819A8476-EC66-4E98-8F19-EBDEA05B2E5F}" srcOrd="2" destOrd="0" presId="urn:microsoft.com/office/officeart/2005/8/layout/orgChart1"/>
    <dgm:cxn modelId="{0F131241-BC1E-47BE-827C-E026588E8E9A}" type="presParOf" srcId="{C139C701-8952-4151-8132-F5AA1053A8CC}" destId="{EB3610F2-02A8-47AC-B8CE-1BA8DF49FB6A}" srcOrd="8" destOrd="0" presId="urn:microsoft.com/office/officeart/2005/8/layout/orgChart1"/>
    <dgm:cxn modelId="{2908F15B-D896-46EC-B806-3AECE253C4A5}" type="presParOf" srcId="{C139C701-8952-4151-8132-F5AA1053A8CC}" destId="{068AB56F-707B-4625-81A2-091FB83DB3F2}" srcOrd="9" destOrd="0" presId="urn:microsoft.com/office/officeart/2005/8/layout/orgChart1"/>
    <dgm:cxn modelId="{52C0B066-40EA-4D44-943B-6B8A93C4DA1F}" type="presParOf" srcId="{068AB56F-707B-4625-81A2-091FB83DB3F2}" destId="{EF896BF9-AC8A-4D24-962B-E31730667EEC}" srcOrd="0" destOrd="0" presId="urn:microsoft.com/office/officeart/2005/8/layout/orgChart1"/>
    <dgm:cxn modelId="{E7701DCA-9202-44FE-A9D5-65250A14EF63}" type="presParOf" srcId="{EF896BF9-AC8A-4D24-962B-E31730667EEC}" destId="{3D55EECB-84AF-416E-BBDD-B721E755EA9B}" srcOrd="0" destOrd="0" presId="urn:microsoft.com/office/officeart/2005/8/layout/orgChart1"/>
    <dgm:cxn modelId="{CB8A2360-733D-4148-9380-3CD9DEA59AD4}" type="presParOf" srcId="{EF896BF9-AC8A-4D24-962B-E31730667EEC}" destId="{D7C9952F-D4DC-4810-BBA9-E23100F3DE37}" srcOrd="1" destOrd="0" presId="urn:microsoft.com/office/officeart/2005/8/layout/orgChart1"/>
    <dgm:cxn modelId="{7AF28202-7D23-4FC1-8069-A51293FE39C8}" type="presParOf" srcId="{068AB56F-707B-4625-81A2-091FB83DB3F2}" destId="{40F2EE1D-6B5D-42DA-85CE-951D5C6555BD}" srcOrd="1" destOrd="0" presId="urn:microsoft.com/office/officeart/2005/8/layout/orgChart1"/>
    <dgm:cxn modelId="{0E8794E4-7C25-4777-8235-345851C82209}" type="presParOf" srcId="{068AB56F-707B-4625-81A2-091FB83DB3F2}" destId="{E283512D-29EC-478D-8BDF-3A5B8C02D898}" srcOrd="2" destOrd="0" presId="urn:microsoft.com/office/officeart/2005/8/layout/orgChart1"/>
    <dgm:cxn modelId="{0BDFDF93-2660-44C9-8009-92768C0C2C3D}" type="presParOf" srcId="{5A7E60A3-B4B4-458C-B8DB-500A0569BFB2}" destId="{19492B7F-9E0F-4A61-9553-280A5642A918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3610F2-02A8-47AC-B8CE-1BA8DF49FB6A}">
      <dsp:nvSpPr>
        <dsp:cNvPr id="0" name=""/>
        <dsp:cNvSpPr/>
      </dsp:nvSpPr>
      <dsp:spPr>
        <a:xfrm>
          <a:off x="4736950" y="610381"/>
          <a:ext cx="4003860" cy="13897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9832"/>
              </a:lnTo>
              <a:lnTo>
                <a:pt x="4023676" y="69832"/>
              </a:lnTo>
              <a:lnTo>
                <a:pt x="4023676" y="139664"/>
              </a:lnTo>
            </a:path>
          </a:pathLst>
        </a:custGeom>
        <a:noFill/>
        <a:ln w="19050" cap="flat" cmpd="sng" algn="ctr">
          <a:solidFill>
            <a:srgbClr val="4D4D4D">
              <a:tint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570632C-E482-4D89-80E7-9CA542E4A966}">
      <dsp:nvSpPr>
        <dsp:cNvPr id="0" name=""/>
        <dsp:cNvSpPr/>
      </dsp:nvSpPr>
      <dsp:spPr>
        <a:xfrm>
          <a:off x="7675320" y="1080255"/>
          <a:ext cx="99269" cy="26537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66932"/>
              </a:lnTo>
              <a:lnTo>
                <a:pt x="99760" y="2666932"/>
              </a:lnTo>
            </a:path>
          </a:pathLst>
        </a:custGeom>
        <a:noFill/>
        <a:ln w="19050" cap="flat" cmpd="sng" algn="ctr">
          <a:solidFill>
            <a:srgbClr val="4D4D4D">
              <a:tint val="7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2563BEF-C03A-4B18-8E1F-DDF1D3177705}">
      <dsp:nvSpPr>
        <dsp:cNvPr id="0" name=""/>
        <dsp:cNvSpPr/>
      </dsp:nvSpPr>
      <dsp:spPr>
        <a:xfrm>
          <a:off x="7675320" y="1080255"/>
          <a:ext cx="99269" cy="21839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94732"/>
              </a:lnTo>
              <a:lnTo>
                <a:pt x="99760" y="2194732"/>
              </a:lnTo>
            </a:path>
          </a:pathLst>
        </a:custGeom>
        <a:noFill/>
        <a:ln w="19050" cap="flat" cmpd="sng" algn="ctr">
          <a:solidFill>
            <a:srgbClr val="4D4D4D">
              <a:tint val="7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3D394A0-E10E-4634-9BE5-C6B2C50B8221}">
      <dsp:nvSpPr>
        <dsp:cNvPr id="0" name=""/>
        <dsp:cNvSpPr/>
      </dsp:nvSpPr>
      <dsp:spPr>
        <a:xfrm>
          <a:off x="7675320" y="1080255"/>
          <a:ext cx="99269" cy="17140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22532"/>
              </a:lnTo>
              <a:lnTo>
                <a:pt x="99760" y="1722532"/>
              </a:lnTo>
            </a:path>
          </a:pathLst>
        </a:custGeom>
        <a:noFill/>
        <a:ln w="19050" cap="flat" cmpd="sng" algn="ctr">
          <a:solidFill>
            <a:srgbClr val="4D4D4D">
              <a:tint val="7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C0871BC-91F7-4004-942B-913E7593B30D}">
      <dsp:nvSpPr>
        <dsp:cNvPr id="0" name=""/>
        <dsp:cNvSpPr/>
      </dsp:nvSpPr>
      <dsp:spPr>
        <a:xfrm>
          <a:off x="7675320" y="1080255"/>
          <a:ext cx="99269" cy="12441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50332"/>
              </a:lnTo>
              <a:lnTo>
                <a:pt x="99760" y="1250332"/>
              </a:lnTo>
            </a:path>
          </a:pathLst>
        </a:custGeom>
        <a:noFill/>
        <a:ln w="19050" cap="flat" cmpd="sng" algn="ctr">
          <a:solidFill>
            <a:srgbClr val="4D4D4D">
              <a:tint val="7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CA0D62-2077-4404-8EBD-E967E4D80D32}">
      <dsp:nvSpPr>
        <dsp:cNvPr id="0" name=""/>
        <dsp:cNvSpPr/>
      </dsp:nvSpPr>
      <dsp:spPr>
        <a:xfrm>
          <a:off x="7675320" y="1080255"/>
          <a:ext cx="99269" cy="77430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78132"/>
              </a:lnTo>
              <a:lnTo>
                <a:pt x="99760" y="778132"/>
              </a:lnTo>
            </a:path>
          </a:pathLst>
        </a:custGeom>
        <a:noFill/>
        <a:ln w="19050" cap="flat" cmpd="sng" algn="ctr">
          <a:solidFill>
            <a:srgbClr val="4D4D4D">
              <a:tint val="7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981BDD9-5B61-4D8C-BC03-57FAB22AF4D2}">
      <dsp:nvSpPr>
        <dsp:cNvPr id="0" name=""/>
        <dsp:cNvSpPr/>
      </dsp:nvSpPr>
      <dsp:spPr>
        <a:xfrm>
          <a:off x="7675320" y="1080255"/>
          <a:ext cx="99269" cy="3044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5932"/>
              </a:lnTo>
              <a:lnTo>
                <a:pt x="99760" y="305932"/>
              </a:lnTo>
            </a:path>
          </a:pathLst>
        </a:custGeom>
        <a:noFill/>
        <a:ln w="19050" cap="flat" cmpd="sng" algn="ctr">
          <a:solidFill>
            <a:srgbClr val="4D4D4D">
              <a:tint val="7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79BD986-0758-4BEF-A3D3-AB7B6F6B6346}">
      <dsp:nvSpPr>
        <dsp:cNvPr id="0" name=""/>
        <dsp:cNvSpPr/>
      </dsp:nvSpPr>
      <dsp:spPr>
        <a:xfrm>
          <a:off x="4736950" y="610381"/>
          <a:ext cx="3203088" cy="13897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9832"/>
              </a:lnTo>
              <a:lnTo>
                <a:pt x="3218941" y="69832"/>
              </a:lnTo>
              <a:lnTo>
                <a:pt x="3218941" y="139664"/>
              </a:lnTo>
            </a:path>
          </a:pathLst>
        </a:custGeom>
        <a:noFill/>
        <a:ln w="19050" cap="flat" cmpd="sng" algn="ctr">
          <a:solidFill>
            <a:srgbClr val="4D4D4D">
              <a:tint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FB36E5E-BBA1-4453-9A2E-0D0FF3E3D30B}">
      <dsp:nvSpPr>
        <dsp:cNvPr id="0" name=""/>
        <dsp:cNvSpPr/>
      </dsp:nvSpPr>
      <dsp:spPr>
        <a:xfrm>
          <a:off x="4736950" y="610381"/>
          <a:ext cx="1000965" cy="13897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9832"/>
              </a:lnTo>
              <a:lnTo>
                <a:pt x="1005919" y="69832"/>
              </a:lnTo>
              <a:lnTo>
                <a:pt x="1005919" y="139664"/>
              </a:lnTo>
            </a:path>
          </a:pathLst>
        </a:custGeom>
        <a:noFill/>
        <a:ln w="19050" cap="flat" cmpd="sng" algn="ctr">
          <a:solidFill>
            <a:srgbClr val="4D4D4D">
              <a:tint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2A86F8-D710-43F6-8DED-53BC15EA3353}">
      <dsp:nvSpPr>
        <dsp:cNvPr id="0" name=""/>
        <dsp:cNvSpPr/>
      </dsp:nvSpPr>
      <dsp:spPr>
        <a:xfrm>
          <a:off x="6874548" y="1550130"/>
          <a:ext cx="99269" cy="77430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78132"/>
              </a:lnTo>
              <a:lnTo>
                <a:pt x="99760" y="7781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4746820-AED3-4B8D-9939-579F5175DD0B}">
      <dsp:nvSpPr>
        <dsp:cNvPr id="0" name=""/>
        <dsp:cNvSpPr/>
      </dsp:nvSpPr>
      <dsp:spPr>
        <a:xfrm>
          <a:off x="6874548" y="1550130"/>
          <a:ext cx="99269" cy="3044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5932"/>
              </a:lnTo>
              <a:lnTo>
                <a:pt x="99760" y="3059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3E1B64F-6459-4657-8379-1BED33DD1089}">
      <dsp:nvSpPr>
        <dsp:cNvPr id="0" name=""/>
        <dsp:cNvSpPr/>
      </dsp:nvSpPr>
      <dsp:spPr>
        <a:xfrm>
          <a:off x="4937143" y="1080255"/>
          <a:ext cx="2202123" cy="13897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9832"/>
              </a:lnTo>
              <a:lnTo>
                <a:pt x="2213022" y="69832"/>
              </a:lnTo>
              <a:lnTo>
                <a:pt x="2213022" y="139664"/>
              </a:lnTo>
            </a:path>
          </a:pathLst>
        </a:custGeom>
        <a:noFill/>
        <a:ln w="19050" cap="flat" cmpd="sng" algn="ctr">
          <a:solidFill>
            <a:srgbClr val="4D4D4D">
              <a:tint val="7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C36ED40-E124-4FEE-8336-4BD689E13C38}">
      <dsp:nvSpPr>
        <dsp:cNvPr id="0" name=""/>
        <dsp:cNvSpPr/>
      </dsp:nvSpPr>
      <dsp:spPr>
        <a:xfrm>
          <a:off x="4937143" y="1080255"/>
          <a:ext cx="1401351" cy="13897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9832"/>
              </a:lnTo>
              <a:lnTo>
                <a:pt x="1408286" y="69832"/>
              </a:lnTo>
              <a:lnTo>
                <a:pt x="1408286" y="139664"/>
              </a:lnTo>
            </a:path>
          </a:pathLst>
        </a:custGeom>
        <a:noFill/>
        <a:ln w="19050" cap="flat" cmpd="sng" algn="ctr">
          <a:solidFill>
            <a:srgbClr val="4D4D4D">
              <a:tint val="7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63F05BD-CBC5-4448-A2AB-059BECBD64D1}">
      <dsp:nvSpPr>
        <dsp:cNvPr id="0" name=""/>
        <dsp:cNvSpPr/>
      </dsp:nvSpPr>
      <dsp:spPr>
        <a:xfrm>
          <a:off x="4937143" y="1080255"/>
          <a:ext cx="600579" cy="13897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9832"/>
              </a:lnTo>
              <a:lnTo>
                <a:pt x="603551" y="69832"/>
              </a:lnTo>
              <a:lnTo>
                <a:pt x="603551" y="139664"/>
              </a:lnTo>
            </a:path>
          </a:pathLst>
        </a:custGeom>
        <a:noFill/>
        <a:ln w="19050" cap="flat" cmpd="sng" algn="ctr">
          <a:solidFill>
            <a:srgbClr val="4D4D4D">
              <a:tint val="7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06DBCB6-C65B-430B-961B-CA5647D55B29}">
      <dsp:nvSpPr>
        <dsp:cNvPr id="0" name=""/>
        <dsp:cNvSpPr/>
      </dsp:nvSpPr>
      <dsp:spPr>
        <a:xfrm>
          <a:off x="4472232" y="2020004"/>
          <a:ext cx="99269" cy="12441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50332"/>
              </a:lnTo>
              <a:lnTo>
                <a:pt x="99760" y="12503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D0E61C4-FD16-4220-A481-EF537436EED9}">
      <dsp:nvSpPr>
        <dsp:cNvPr id="0" name=""/>
        <dsp:cNvSpPr/>
      </dsp:nvSpPr>
      <dsp:spPr>
        <a:xfrm>
          <a:off x="4472232" y="2020004"/>
          <a:ext cx="99269" cy="77430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78132"/>
              </a:lnTo>
              <a:lnTo>
                <a:pt x="99760" y="7781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8649BB8-80F3-4344-A95B-353AD602B72D}">
      <dsp:nvSpPr>
        <dsp:cNvPr id="0" name=""/>
        <dsp:cNvSpPr/>
      </dsp:nvSpPr>
      <dsp:spPr>
        <a:xfrm>
          <a:off x="4472232" y="2020004"/>
          <a:ext cx="99269" cy="3044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5932"/>
              </a:lnTo>
              <a:lnTo>
                <a:pt x="99760" y="3059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BA862AD-D140-49CC-9FB6-7C47F88C939D}">
      <dsp:nvSpPr>
        <dsp:cNvPr id="0" name=""/>
        <dsp:cNvSpPr/>
      </dsp:nvSpPr>
      <dsp:spPr>
        <a:xfrm>
          <a:off x="4691230" y="1550130"/>
          <a:ext cx="91440" cy="13897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39664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51C31C-25C2-4337-AC99-2822AD37E02F}">
      <dsp:nvSpPr>
        <dsp:cNvPr id="0" name=""/>
        <dsp:cNvSpPr/>
      </dsp:nvSpPr>
      <dsp:spPr>
        <a:xfrm>
          <a:off x="4736950" y="1080255"/>
          <a:ext cx="200193" cy="138976"/>
        </a:xfrm>
        <a:custGeom>
          <a:avLst/>
          <a:gdLst/>
          <a:ahLst/>
          <a:cxnLst/>
          <a:rect l="0" t="0" r="0" b="0"/>
          <a:pathLst>
            <a:path>
              <a:moveTo>
                <a:pt x="201183" y="0"/>
              </a:moveTo>
              <a:lnTo>
                <a:pt x="201183" y="69832"/>
              </a:lnTo>
              <a:lnTo>
                <a:pt x="0" y="69832"/>
              </a:lnTo>
              <a:lnTo>
                <a:pt x="0" y="139664"/>
              </a:lnTo>
            </a:path>
          </a:pathLst>
        </a:custGeom>
        <a:noFill/>
        <a:ln w="19050" cap="flat" cmpd="sng" algn="ctr">
          <a:solidFill>
            <a:srgbClr val="4D4D4D">
              <a:tint val="7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F9BBB57-D597-4BCF-A42B-696538175BB4}">
      <dsp:nvSpPr>
        <dsp:cNvPr id="0" name=""/>
        <dsp:cNvSpPr/>
      </dsp:nvSpPr>
      <dsp:spPr>
        <a:xfrm>
          <a:off x="3506011" y="1550130"/>
          <a:ext cx="99269" cy="3044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5932"/>
              </a:lnTo>
              <a:lnTo>
                <a:pt x="99760" y="3059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62662A8-0EB4-43A7-AD2E-7EF26C82EB47}">
      <dsp:nvSpPr>
        <dsp:cNvPr id="0" name=""/>
        <dsp:cNvSpPr/>
      </dsp:nvSpPr>
      <dsp:spPr>
        <a:xfrm>
          <a:off x="3770729" y="1080255"/>
          <a:ext cx="1166413" cy="138976"/>
        </a:xfrm>
        <a:custGeom>
          <a:avLst/>
          <a:gdLst/>
          <a:ahLst/>
          <a:cxnLst/>
          <a:rect l="0" t="0" r="0" b="0"/>
          <a:pathLst>
            <a:path>
              <a:moveTo>
                <a:pt x="1172186" y="0"/>
              </a:moveTo>
              <a:lnTo>
                <a:pt x="1172186" y="69832"/>
              </a:lnTo>
              <a:lnTo>
                <a:pt x="0" y="69832"/>
              </a:lnTo>
              <a:lnTo>
                <a:pt x="0" y="139664"/>
              </a:lnTo>
            </a:path>
          </a:pathLst>
        </a:custGeom>
        <a:noFill/>
        <a:ln w="19050" cap="flat" cmpd="sng" algn="ctr">
          <a:solidFill>
            <a:srgbClr val="4D4D4D">
              <a:tint val="7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D28004C-D283-48B7-BF6A-F6DCC2543F39}">
      <dsp:nvSpPr>
        <dsp:cNvPr id="0" name=""/>
        <dsp:cNvSpPr/>
      </dsp:nvSpPr>
      <dsp:spPr>
        <a:xfrm>
          <a:off x="2870688" y="2020004"/>
          <a:ext cx="99269" cy="77430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78132"/>
              </a:lnTo>
              <a:lnTo>
                <a:pt x="99760" y="7781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944EBD5-C828-43A9-8A13-CCB26ED1F087}">
      <dsp:nvSpPr>
        <dsp:cNvPr id="0" name=""/>
        <dsp:cNvSpPr/>
      </dsp:nvSpPr>
      <dsp:spPr>
        <a:xfrm>
          <a:off x="2870688" y="2020004"/>
          <a:ext cx="99269" cy="3044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5932"/>
              </a:lnTo>
              <a:lnTo>
                <a:pt x="99760" y="3059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70FBEE0-6AA0-4704-8956-8D8F3F994406}">
      <dsp:nvSpPr>
        <dsp:cNvPr id="0" name=""/>
        <dsp:cNvSpPr/>
      </dsp:nvSpPr>
      <dsp:spPr>
        <a:xfrm>
          <a:off x="2735020" y="1550130"/>
          <a:ext cx="400386" cy="13897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9832"/>
              </a:lnTo>
              <a:lnTo>
                <a:pt x="402367" y="69832"/>
              </a:lnTo>
              <a:lnTo>
                <a:pt x="402367" y="139664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F40FA4-CB68-4F36-BBC6-9798D0CFB20E}">
      <dsp:nvSpPr>
        <dsp:cNvPr id="0" name=""/>
        <dsp:cNvSpPr/>
      </dsp:nvSpPr>
      <dsp:spPr>
        <a:xfrm>
          <a:off x="2069916" y="2020004"/>
          <a:ext cx="99269" cy="17140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22532"/>
              </a:lnTo>
              <a:lnTo>
                <a:pt x="99760" y="17225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91B460B-5DD0-4E04-8041-9D2D94B1C315}">
      <dsp:nvSpPr>
        <dsp:cNvPr id="0" name=""/>
        <dsp:cNvSpPr/>
      </dsp:nvSpPr>
      <dsp:spPr>
        <a:xfrm>
          <a:off x="2069916" y="2020004"/>
          <a:ext cx="99269" cy="12441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50332"/>
              </a:lnTo>
              <a:lnTo>
                <a:pt x="99760" y="12503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BE9B386-4CA2-44EC-9B08-206AD9ED0097}">
      <dsp:nvSpPr>
        <dsp:cNvPr id="0" name=""/>
        <dsp:cNvSpPr/>
      </dsp:nvSpPr>
      <dsp:spPr>
        <a:xfrm>
          <a:off x="2069916" y="2020004"/>
          <a:ext cx="99269" cy="77430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78132"/>
              </a:lnTo>
              <a:lnTo>
                <a:pt x="99760" y="7781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3F89AD4-5025-4692-A51C-4B2F34F84129}">
      <dsp:nvSpPr>
        <dsp:cNvPr id="0" name=""/>
        <dsp:cNvSpPr/>
      </dsp:nvSpPr>
      <dsp:spPr>
        <a:xfrm>
          <a:off x="2069916" y="2020004"/>
          <a:ext cx="99269" cy="3044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5932"/>
              </a:lnTo>
              <a:lnTo>
                <a:pt x="99760" y="3059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A532C3D-5456-44E8-9A44-E27ED64ED375}">
      <dsp:nvSpPr>
        <dsp:cNvPr id="0" name=""/>
        <dsp:cNvSpPr/>
      </dsp:nvSpPr>
      <dsp:spPr>
        <a:xfrm>
          <a:off x="2334634" y="1550130"/>
          <a:ext cx="400386" cy="138976"/>
        </a:xfrm>
        <a:custGeom>
          <a:avLst/>
          <a:gdLst/>
          <a:ahLst/>
          <a:cxnLst/>
          <a:rect l="0" t="0" r="0" b="0"/>
          <a:pathLst>
            <a:path>
              <a:moveTo>
                <a:pt x="402367" y="0"/>
              </a:moveTo>
              <a:lnTo>
                <a:pt x="402367" y="69832"/>
              </a:lnTo>
              <a:lnTo>
                <a:pt x="0" y="69832"/>
              </a:lnTo>
              <a:lnTo>
                <a:pt x="0" y="139664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E3D84F3-00ED-4BCF-8429-33324D643668}">
      <dsp:nvSpPr>
        <dsp:cNvPr id="0" name=""/>
        <dsp:cNvSpPr/>
      </dsp:nvSpPr>
      <dsp:spPr>
        <a:xfrm>
          <a:off x="2735020" y="1080255"/>
          <a:ext cx="2202123" cy="138976"/>
        </a:xfrm>
        <a:custGeom>
          <a:avLst/>
          <a:gdLst/>
          <a:ahLst/>
          <a:cxnLst/>
          <a:rect l="0" t="0" r="0" b="0"/>
          <a:pathLst>
            <a:path>
              <a:moveTo>
                <a:pt x="2213022" y="0"/>
              </a:moveTo>
              <a:lnTo>
                <a:pt x="2213022" y="69832"/>
              </a:lnTo>
              <a:lnTo>
                <a:pt x="0" y="69832"/>
              </a:lnTo>
              <a:lnTo>
                <a:pt x="0" y="139664"/>
              </a:lnTo>
            </a:path>
          </a:pathLst>
        </a:custGeom>
        <a:noFill/>
        <a:ln w="19050" cap="flat" cmpd="sng" algn="ctr">
          <a:solidFill>
            <a:srgbClr val="4D4D4D">
              <a:tint val="7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75EA2E-BFD8-4D6C-A3FB-57D12262D061}">
      <dsp:nvSpPr>
        <dsp:cNvPr id="0" name=""/>
        <dsp:cNvSpPr/>
      </dsp:nvSpPr>
      <dsp:spPr>
        <a:xfrm>
          <a:off x="4736950" y="610381"/>
          <a:ext cx="200193" cy="13897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9832"/>
              </a:lnTo>
              <a:lnTo>
                <a:pt x="201183" y="69832"/>
              </a:lnTo>
              <a:lnTo>
                <a:pt x="201183" y="139664"/>
              </a:lnTo>
            </a:path>
          </a:pathLst>
        </a:custGeom>
        <a:noFill/>
        <a:ln w="19050" cap="flat" cmpd="sng" algn="ctr">
          <a:solidFill>
            <a:srgbClr val="4D4D4D">
              <a:tint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3887142-65CB-4083-81C9-2F65621B0064}">
      <dsp:nvSpPr>
        <dsp:cNvPr id="0" name=""/>
        <dsp:cNvSpPr/>
      </dsp:nvSpPr>
      <dsp:spPr>
        <a:xfrm>
          <a:off x="1269144" y="2020004"/>
          <a:ext cx="99269" cy="26537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66932"/>
              </a:lnTo>
              <a:lnTo>
                <a:pt x="99760" y="26669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5E89354-3B38-4649-A722-A0B2DD8D979A}">
      <dsp:nvSpPr>
        <dsp:cNvPr id="0" name=""/>
        <dsp:cNvSpPr/>
      </dsp:nvSpPr>
      <dsp:spPr>
        <a:xfrm>
          <a:off x="1269144" y="2020004"/>
          <a:ext cx="99269" cy="21839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94732"/>
              </a:lnTo>
              <a:lnTo>
                <a:pt x="99760" y="21947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A3C1543-A2D6-42AD-9D97-5074512A6812}">
      <dsp:nvSpPr>
        <dsp:cNvPr id="0" name=""/>
        <dsp:cNvSpPr/>
      </dsp:nvSpPr>
      <dsp:spPr>
        <a:xfrm>
          <a:off x="1269144" y="2020004"/>
          <a:ext cx="99269" cy="17140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22532"/>
              </a:lnTo>
              <a:lnTo>
                <a:pt x="99760" y="17225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7784D33-158C-4FE4-9852-E29E352BA539}">
      <dsp:nvSpPr>
        <dsp:cNvPr id="0" name=""/>
        <dsp:cNvSpPr/>
      </dsp:nvSpPr>
      <dsp:spPr>
        <a:xfrm>
          <a:off x="1269144" y="2020004"/>
          <a:ext cx="99269" cy="12441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50332"/>
              </a:lnTo>
              <a:lnTo>
                <a:pt x="99760" y="12503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7240596-690D-4406-ADDA-F6F5D9746CEA}">
      <dsp:nvSpPr>
        <dsp:cNvPr id="0" name=""/>
        <dsp:cNvSpPr/>
      </dsp:nvSpPr>
      <dsp:spPr>
        <a:xfrm>
          <a:off x="1269144" y="2020004"/>
          <a:ext cx="99269" cy="77430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78132"/>
              </a:lnTo>
              <a:lnTo>
                <a:pt x="99760" y="7781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53E96A-2804-4D62-8572-CADEEEB58D46}">
      <dsp:nvSpPr>
        <dsp:cNvPr id="0" name=""/>
        <dsp:cNvSpPr/>
      </dsp:nvSpPr>
      <dsp:spPr>
        <a:xfrm>
          <a:off x="1269144" y="2020004"/>
          <a:ext cx="99269" cy="3044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5932"/>
              </a:lnTo>
              <a:lnTo>
                <a:pt x="99760" y="3059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E2F6462-5EB2-4BBE-A591-0D454C46D7DB}">
      <dsp:nvSpPr>
        <dsp:cNvPr id="0" name=""/>
        <dsp:cNvSpPr/>
      </dsp:nvSpPr>
      <dsp:spPr>
        <a:xfrm>
          <a:off x="1133476" y="1550130"/>
          <a:ext cx="400386" cy="13897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9832"/>
              </a:lnTo>
              <a:lnTo>
                <a:pt x="402367" y="69832"/>
              </a:lnTo>
              <a:lnTo>
                <a:pt x="402367" y="139664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B99E4F6-1BA1-4FBA-9A84-79F96CD77FA0}">
      <dsp:nvSpPr>
        <dsp:cNvPr id="0" name=""/>
        <dsp:cNvSpPr/>
      </dsp:nvSpPr>
      <dsp:spPr>
        <a:xfrm>
          <a:off x="468372" y="2020004"/>
          <a:ext cx="99269" cy="26537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66932"/>
              </a:lnTo>
              <a:lnTo>
                <a:pt x="99760" y="26669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508B103-C703-46A3-864B-4D55E050C768}">
      <dsp:nvSpPr>
        <dsp:cNvPr id="0" name=""/>
        <dsp:cNvSpPr/>
      </dsp:nvSpPr>
      <dsp:spPr>
        <a:xfrm>
          <a:off x="468372" y="2020004"/>
          <a:ext cx="99269" cy="21839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94732"/>
              </a:lnTo>
              <a:lnTo>
                <a:pt x="99760" y="21947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1D7DEBC-3600-422A-A5B2-DE17AFE46963}">
      <dsp:nvSpPr>
        <dsp:cNvPr id="0" name=""/>
        <dsp:cNvSpPr/>
      </dsp:nvSpPr>
      <dsp:spPr>
        <a:xfrm>
          <a:off x="468372" y="2020004"/>
          <a:ext cx="99269" cy="17140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22532"/>
              </a:lnTo>
              <a:lnTo>
                <a:pt x="99760" y="17225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5744002-6D5D-4CF8-B708-0E0DA394788E}">
      <dsp:nvSpPr>
        <dsp:cNvPr id="0" name=""/>
        <dsp:cNvSpPr/>
      </dsp:nvSpPr>
      <dsp:spPr>
        <a:xfrm>
          <a:off x="468372" y="2020004"/>
          <a:ext cx="99269" cy="12441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50332"/>
              </a:lnTo>
              <a:lnTo>
                <a:pt x="99760" y="12503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70DF42D-6361-4C9C-8C9C-6C1273690FA4}">
      <dsp:nvSpPr>
        <dsp:cNvPr id="0" name=""/>
        <dsp:cNvSpPr/>
      </dsp:nvSpPr>
      <dsp:spPr>
        <a:xfrm>
          <a:off x="468372" y="2020004"/>
          <a:ext cx="99269" cy="77430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78132"/>
              </a:lnTo>
              <a:lnTo>
                <a:pt x="99760" y="7781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548059A-61FC-485A-9BF7-E5B094DFBD21}">
      <dsp:nvSpPr>
        <dsp:cNvPr id="0" name=""/>
        <dsp:cNvSpPr/>
      </dsp:nvSpPr>
      <dsp:spPr>
        <a:xfrm>
          <a:off x="468372" y="2020004"/>
          <a:ext cx="99269" cy="3044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5932"/>
              </a:lnTo>
              <a:lnTo>
                <a:pt x="99760" y="305932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CAA25DC-0279-4580-BBCE-AC10E8DB285B}">
      <dsp:nvSpPr>
        <dsp:cNvPr id="0" name=""/>
        <dsp:cNvSpPr/>
      </dsp:nvSpPr>
      <dsp:spPr>
        <a:xfrm>
          <a:off x="733090" y="1550130"/>
          <a:ext cx="400386" cy="138976"/>
        </a:xfrm>
        <a:custGeom>
          <a:avLst/>
          <a:gdLst/>
          <a:ahLst/>
          <a:cxnLst/>
          <a:rect l="0" t="0" r="0" b="0"/>
          <a:pathLst>
            <a:path>
              <a:moveTo>
                <a:pt x="402367" y="0"/>
              </a:moveTo>
              <a:lnTo>
                <a:pt x="402367" y="69832"/>
              </a:lnTo>
              <a:lnTo>
                <a:pt x="0" y="69832"/>
              </a:lnTo>
              <a:lnTo>
                <a:pt x="0" y="139664"/>
              </a:lnTo>
            </a:path>
          </a:pathLst>
        </a:custGeom>
        <a:noFill/>
        <a:ln w="19050" cap="flat" cmpd="sng" algn="ctr">
          <a:solidFill>
            <a:srgbClr val="4D4D4D">
              <a:tint val="5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9A327D0-9216-4432-B846-CF92D8421306}">
      <dsp:nvSpPr>
        <dsp:cNvPr id="0" name=""/>
        <dsp:cNvSpPr/>
      </dsp:nvSpPr>
      <dsp:spPr>
        <a:xfrm>
          <a:off x="733090" y="1080255"/>
          <a:ext cx="400386" cy="13897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9832"/>
              </a:lnTo>
              <a:lnTo>
                <a:pt x="402367" y="69832"/>
              </a:lnTo>
              <a:lnTo>
                <a:pt x="402367" y="139664"/>
              </a:lnTo>
            </a:path>
          </a:pathLst>
        </a:custGeom>
        <a:noFill/>
        <a:ln w="19050" cap="flat" cmpd="sng" algn="ctr">
          <a:solidFill>
            <a:srgbClr val="4D4D4D">
              <a:tint val="7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714CEB-6C55-42B2-AB86-92AEEF96FCB6}">
      <dsp:nvSpPr>
        <dsp:cNvPr id="0" name=""/>
        <dsp:cNvSpPr/>
      </dsp:nvSpPr>
      <dsp:spPr>
        <a:xfrm>
          <a:off x="332704" y="1080255"/>
          <a:ext cx="400386" cy="138976"/>
        </a:xfrm>
        <a:custGeom>
          <a:avLst/>
          <a:gdLst/>
          <a:ahLst/>
          <a:cxnLst/>
          <a:rect l="0" t="0" r="0" b="0"/>
          <a:pathLst>
            <a:path>
              <a:moveTo>
                <a:pt x="402367" y="0"/>
              </a:moveTo>
              <a:lnTo>
                <a:pt x="402367" y="69832"/>
              </a:lnTo>
              <a:lnTo>
                <a:pt x="0" y="69832"/>
              </a:lnTo>
              <a:lnTo>
                <a:pt x="0" y="139664"/>
              </a:lnTo>
            </a:path>
          </a:pathLst>
        </a:custGeom>
        <a:noFill/>
        <a:ln w="19050" cap="flat" cmpd="sng" algn="ctr">
          <a:solidFill>
            <a:srgbClr val="4D4D4D">
              <a:tint val="7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3D4565A-8D31-40DA-AB2A-5C22BCCFD57C}">
      <dsp:nvSpPr>
        <dsp:cNvPr id="0" name=""/>
        <dsp:cNvSpPr/>
      </dsp:nvSpPr>
      <dsp:spPr>
        <a:xfrm>
          <a:off x="733090" y="610381"/>
          <a:ext cx="4003860" cy="138976"/>
        </a:xfrm>
        <a:custGeom>
          <a:avLst/>
          <a:gdLst/>
          <a:ahLst/>
          <a:cxnLst/>
          <a:rect l="0" t="0" r="0" b="0"/>
          <a:pathLst>
            <a:path>
              <a:moveTo>
                <a:pt x="4023676" y="0"/>
              </a:moveTo>
              <a:lnTo>
                <a:pt x="4023676" y="69832"/>
              </a:lnTo>
              <a:lnTo>
                <a:pt x="0" y="69832"/>
              </a:lnTo>
              <a:lnTo>
                <a:pt x="0" y="139664"/>
              </a:lnTo>
            </a:path>
          </a:pathLst>
        </a:custGeom>
        <a:noFill/>
        <a:ln w="19050" cap="flat" cmpd="sng" algn="ctr">
          <a:solidFill>
            <a:srgbClr val="4D4D4D">
              <a:tint val="9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5E8FFF0-DE1D-418E-987D-1801235E5D97}">
      <dsp:nvSpPr>
        <dsp:cNvPr id="0" name=""/>
        <dsp:cNvSpPr/>
      </dsp:nvSpPr>
      <dsp:spPr>
        <a:xfrm>
          <a:off x="4406052" y="279483"/>
          <a:ext cx="661795" cy="330897"/>
        </a:xfrm>
        <a:prstGeom prst="rect">
          <a:avLst/>
        </a:prstGeom>
        <a:solidFill>
          <a:srgbClr val="4D4D4D">
            <a:shade val="6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MYRRHA accelerator (10)</a:t>
          </a:r>
        </a:p>
      </dsp:txBody>
      <dsp:txXfrm>
        <a:off x="4406052" y="279483"/>
        <a:ext cx="661795" cy="330897"/>
      </dsp:txXfrm>
    </dsp:sp>
    <dsp:sp modelId="{95D912E7-20C5-45D2-BFD0-AC39F856A70C}">
      <dsp:nvSpPr>
        <dsp:cNvPr id="0" name=""/>
        <dsp:cNvSpPr/>
      </dsp:nvSpPr>
      <dsp:spPr>
        <a:xfrm>
          <a:off x="402192" y="749357"/>
          <a:ext cx="661795" cy="330897"/>
        </a:xfrm>
        <a:prstGeom prst="rect">
          <a:avLst/>
        </a:prstGeom>
        <a:solidFill>
          <a:srgbClr val="4D4D4D">
            <a:shade val="8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Injectors (1)</a:t>
          </a:r>
        </a:p>
      </dsp:txBody>
      <dsp:txXfrm>
        <a:off x="402192" y="749357"/>
        <a:ext cx="661795" cy="330897"/>
      </dsp:txXfrm>
    </dsp:sp>
    <dsp:sp modelId="{93C5A841-E5A0-40F1-9EB4-BD5F4C1E0F08}">
      <dsp:nvSpPr>
        <dsp:cNvPr id="0" name=""/>
        <dsp:cNvSpPr/>
      </dsp:nvSpPr>
      <dsp:spPr>
        <a:xfrm>
          <a:off x="1806" y="1219232"/>
          <a:ext cx="661795" cy="330897"/>
        </a:xfrm>
        <a:prstGeom prst="rect">
          <a:avLst/>
        </a:prstGeom>
        <a:solidFill>
          <a:srgbClr val="4D4D4D">
            <a:tint val="99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Switching magnet (0.05)</a:t>
          </a:r>
        </a:p>
      </dsp:txBody>
      <dsp:txXfrm>
        <a:off x="1806" y="1219232"/>
        <a:ext cx="661795" cy="330897"/>
      </dsp:txXfrm>
    </dsp:sp>
    <dsp:sp modelId="{B3C62A13-97FF-4369-A831-14A2AAB802D9}">
      <dsp:nvSpPr>
        <dsp:cNvPr id="0" name=""/>
        <dsp:cNvSpPr/>
      </dsp:nvSpPr>
      <dsp:spPr>
        <a:xfrm>
          <a:off x="802578" y="1219232"/>
          <a:ext cx="661795" cy="330897"/>
        </a:xfrm>
        <a:prstGeom prst="rect">
          <a:avLst/>
        </a:prstGeom>
        <a:solidFill>
          <a:srgbClr val="4D4D4D">
            <a:tint val="99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Injector switching </a:t>
          </a:r>
          <a:b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</a:b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(0.95) &lt; 92% &gt;</a:t>
          </a:r>
        </a:p>
      </dsp:txBody>
      <dsp:txXfrm>
        <a:off x="802578" y="1219232"/>
        <a:ext cx="661795" cy="330897"/>
      </dsp:txXfrm>
    </dsp:sp>
    <dsp:sp modelId="{D4CB5618-222F-457D-BC30-B674E5FD3FAB}">
      <dsp:nvSpPr>
        <dsp:cNvPr id="0" name=""/>
        <dsp:cNvSpPr/>
      </dsp:nvSpPr>
      <dsp:spPr>
        <a:xfrm>
          <a:off x="402192" y="1689106"/>
          <a:ext cx="661795" cy="330897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Injector 1 </a:t>
          </a:r>
          <a:b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</a:b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(5.5){8}</a:t>
          </a:r>
        </a:p>
      </dsp:txBody>
      <dsp:txXfrm>
        <a:off x="402192" y="1689106"/>
        <a:ext cx="661795" cy="330897"/>
      </dsp:txXfrm>
    </dsp:sp>
    <dsp:sp modelId="{9CC6899B-CA1B-42D3-B1BB-2B382C799E3B}">
      <dsp:nvSpPr>
        <dsp:cNvPr id="0" name=""/>
        <dsp:cNvSpPr/>
      </dsp:nvSpPr>
      <dsp:spPr>
        <a:xfrm>
          <a:off x="567641" y="2158981"/>
          <a:ext cx="661795" cy="330897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Source (0.75)</a:t>
          </a:r>
        </a:p>
      </dsp:txBody>
      <dsp:txXfrm>
        <a:off x="567641" y="2158981"/>
        <a:ext cx="661795" cy="330897"/>
      </dsp:txXfrm>
    </dsp:sp>
    <dsp:sp modelId="{E6785B03-97FC-4131-B123-CBAEF25E33EF}">
      <dsp:nvSpPr>
        <dsp:cNvPr id="0" name=""/>
        <dsp:cNvSpPr/>
      </dsp:nvSpPr>
      <dsp:spPr>
        <a:xfrm>
          <a:off x="567641" y="2628855"/>
          <a:ext cx="661795" cy="330897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LEBT (1)</a:t>
          </a:r>
        </a:p>
      </dsp:txBody>
      <dsp:txXfrm>
        <a:off x="567641" y="2628855"/>
        <a:ext cx="661795" cy="330897"/>
      </dsp:txXfrm>
    </dsp:sp>
    <dsp:sp modelId="{916E8DC3-EAD0-4302-BB1B-B99FDC405018}">
      <dsp:nvSpPr>
        <dsp:cNvPr id="0" name=""/>
        <dsp:cNvSpPr/>
      </dsp:nvSpPr>
      <dsp:spPr>
        <a:xfrm>
          <a:off x="567641" y="3098730"/>
          <a:ext cx="661795" cy="330897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RFQ (1)</a:t>
          </a:r>
        </a:p>
      </dsp:txBody>
      <dsp:txXfrm>
        <a:off x="567641" y="3098730"/>
        <a:ext cx="661795" cy="330897"/>
      </dsp:txXfrm>
    </dsp:sp>
    <dsp:sp modelId="{791C3F76-0645-4A7F-AFEB-BD23E3950A41}">
      <dsp:nvSpPr>
        <dsp:cNvPr id="0" name=""/>
        <dsp:cNvSpPr/>
      </dsp:nvSpPr>
      <dsp:spPr>
        <a:xfrm>
          <a:off x="567641" y="3568604"/>
          <a:ext cx="661795" cy="330897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MEBT (1)</a:t>
          </a:r>
        </a:p>
      </dsp:txBody>
      <dsp:txXfrm>
        <a:off x="567641" y="3568604"/>
        <a:ext cx="661795" cy="330897"/>
      </dsp:txXfrm>
    </dsp:sp>
    <dsp:sp modelId="{663DE3C8-6B0F-4813-95CE-1B7165C526B4}">
      <dsp:nvSpPr>
        <dsp:cNvPr id="0" name=""/>
        <dsp:cNvSpPr/>
      </dsp:nvSpPr>
      <dsp:spPr>
        <a:xfrm>
          <a:off x="567641" y="4038479"/>
          <a:ext cx="661795" cy="330897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CH (1.5)</a:t>
          </a:r>
        </a:p>
      </dsp:txBody>
      <dsp:txXfrm>
        <a:off x="567641" y="4038479"/>
        <a:ext cx="661795" cy="330897"/>
      </dsp:txXfrm>
    </dsp:sp>
    <dsp:sp modelId="{D8C2AB15-5E99-4407-95D3-F1B4D66F02DF}">
      <dsp:nvSpPr>
        <dsp:cNvPr id="0" name=""/>
        <dsp:cNvSpPr/>
      </dsp:nvSpPr>
      <dsp:spPr>
        <a:xfrm>
          <a:off x="567641" y="4508353"/>
          <a:ext cx="661795" cy="330897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Vacuum (0.25)</a:t>
          </a:r>
        </a:p>
      </dsp:txBody>
      <dsp:txXfrm>
        <a:off x="567641" y="4508353"/>
        <a:ext cx="661795" cy="330897"/>
      </dsp:txXfrm>
    </dsp:sp>
    <dsp:sp modelId="{D2C455B8-A860-426A-AB88-25773B767F3A}">
      <dsp:nvSpPr>
        <dsp:cNvPr id="0" name=""/>
        <dsp:cNvSpPr/>
      </dsp:nvSpPr>
      <dsp:spPr>
        <a:xfrm>
          <a:off x="1202964" y="1689106"/>
          <a:ext cx="661795" cy="330897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Injector 2 </a:t>
          </a:r>
          <a:b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</a:b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(5.5){8}</a:t>
          </a:r>
        </a:p>
      </dsp:txBody>
      <dsp:txXfrm>
        <a:off x="1202964" y="1689106"/>
        <a:ext cx="661795" cy="330897"/>
      </dsp:txXfrm>
    </dsp:sp>
    <dsp:sp modelId="{6C787661-5711-408B-AA86-17BA6316F20E}">
      <dsp:nvSpPr>
        <dsp:cNvPr id="0" name=""/>
        <dsp:cNvSpPr/>
      </dsp:nvSpPr>
      <dsp:spPr>
        <a:xfrm>
          <a:off x="1368413" y="2158981"/>
          <a:ext cx="661795" cy="330897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>
              <a:solidFill>
                <a:sysClr val="window" lastClr="FFFFFF"/>
              </a:solidFill>
              <a:latin typeface="Arial"/>
              <a:ea typeface="+mn-ea"/>
              <a:cs typeface="+mn-cs"/>
            </a:rPr>
            <a:t>Source (0.75)</a:t>
          </a:r>
          <a:endParaRPr lang="en-US" sz="700" kern="1200" dirty="0">
            <a:solidFill>
              <a:sysClr val="window" lastClr="FFFFFF"/>
            </a:solidFill>
            <a:latin typeface="Arial"/>
            <a:ea typeface="+mn-ea"/>
            <a:cs typeface="+mn-cs"/>
          </a:endParaRPr>
        </a:p>
      </dsp:txBody>
      <dsp:txXfrm>
        <a:off x="1368413" y="2158981"/>
        <a:ext cx="661795" cy="330897"/>
      </dsp:txXfrm>
    </dsp:sp>
    <dsp:sp modelId="{43AD7475-ACA3-413F-8680-295E510B65E0}">
      <dsp:nvSpPr>
        <dsp:cNvPr id="0" name=""/>
        <dsp:cNvSpPr/>
      </dsp:nvSpPr>
      <dsp:spPr>
        <a:xfrm>
          <a:off x="1368413" y="2628855"/>
          <a:ext cx="661795" cy="330897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LEBT (1)</a:t>
          </a:r>
        </a:p>
      </dsp:txBody>
      <dsp:txXfrm>
        <a:off x="1368413" y="2628855"/>
        <a:ext cx="661795" cy="330897"/>
      </dsp:txXfrm>
    </dsp:sp>
    <dsp:sp modelId="{D821CB0F-8B19-470E-9D5E-46BC0FC5A953}">
      <dsp:nvSpPr>
        <dsp:cNvPr id="0" name=""/>
        <dsp:cNvSpPr/>
      </dsp:nvSpPr>
      <dsp:spPr>
        <a:xfrm>
          <a:off x="1368413" y="3098730"/>
          <a:ext cx="661795" cy="330897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RFQ (1)</a:t>
          </a:r>
        </a:p>
      </dsp:txBody>
      <dsp:txXfrm>
        <a:off x="1368413" y="3098730"/>
        <a:ext cx="661795" cy="330897"/>
      </dsp:txXfrm>
    </dsp:sp>
    <dsp:sp modelId="{342625E3-BCA4-4363-8433-C62AB14DC370}">
      <dsp:nvSpPr>
        <dsp:cNvPr id="0" name=""/>
        <dsp:cNvSpPr/>
      </dsp:nvSpPr>
      <dsp:spPr>
        <a:xfrm>
          <a:off x="1368413" y="3568604"/>
          <a:ext cx="661795" cy="330897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MEBT (1)</a:t>
          </a:r>
        </a:p>
      </dsp:txBody>
      <dsp:txXfrm>
        <a:off x="1368413" y="3568604"/>
        <a:ext cx="661795" cy="330897"/>
      </dsp:txXfrm>
    </dsp:sp>
    <dsp:sp modelId="{AAD3C840-093B-4748-BFD7-04A330B33C5B}">
      <dsp:nvSpPr>
        <dsp:cNvPr id="0" name=""/>
        <dsp:cNvSpPr/>
      </dsp:nvSpPr>
      <dsp:spPr>
        <a:xfrm>
          <a:off x="1368413" y="4038479"/>
          <a:ext cx="661795" cy="330897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CH (1.5)</a:t>
          </a:r>
        </a:p>
      </dsp:txBody>
      <dsp:txXfrm>
        <a:off x="1368413" y="4038479"/>
        <a:ext cx="661795" cy="330897"/>
      </dsp:txXfrm>
    </dsp:sp>
    <dsp:sp modelId="{B9E15E61-AEBE-4620-80EF-16BA6C1CCC44}">
      <dsp:nvSpPr>
        <dsp:cNvPr id="0" name=""/>
        <dsp:cNvSpPr/>
      </dsp:nvSpPr>
      <dsp:spPr>
        <a:xfrm>
          <a:off x="1368413" y="4508353"/>
          <a:ext cx="661795" cy="330897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Vacuum (0.25)</a:t>
          </a:r>
        </a:p>
      </dsp:txBody>
      <dsp:txXfrm>
        <a:off x="1368413" y="4508353"/>
        <a:ext cx="661795" cy="330897"/>
      </dsp:txXfrm>
    </dsp:sp>
    <dsp:sp modelId="{C409506C-DFBA-46CD-87B9-2C19932B2F71}">
      <dsp:nvSpPr>
        <dsp:cNvPr id="0" name=""/>
        <dsp:cNvSpPr/>
      </dsp:nvSpPr>
      <dsp:spPr>
        <a:xfrm>
          <a:off x="4606245" y="749357"/>
          <a:ext cx="661795" cy="330897"/>
        </a:xfrm>
        <a:prstGeom prst="rect">
          <a:avLst/>
        </a:prstGeom>
        <a:solidFill>
          <a:srgbClr val="4D4D4D">
            <a:shade val="8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Main LINAC (5)</a:t>
          </a:r>
        </a:p>
      </dsp:txBody>
      <dsp:txXfrm>
        <a:off x="4606245" y="749357"/>
        <a:ext cx="661795" cy="330897"/>
      </dsp:txXfrm>
    </dsp:sp>
    <dsp:sp modelId="{2055A546-9E51-4A21-90EA-CF9B2539A477}">
      <dsp:nvSpPr>
        <dsp:cNvPr id="0" name=""/>
        <dsp:cNvSpPr/>
      </dsp:nvSpPr>
      <dsp:spPr>
        <a:xfrm>
          <a:off x="2404122" y="1219232"/>
          <a:ext cx="661795" cy="330897"/>
        </a:xfrm>
        <a:prstGeom prst="rect">
          <a:avLst/>
        </a:prstGeom>
        <a:solidFill>
          <a:srgbClr val="4D4D4D">
            <a:tint val="99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Dynamic compensation </a:t>
          </a:r>
          <a:b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</a:b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(3.3) &lt; 66% &gt;</a:t>
          </a:r>
        </a:p>
      </dsp:txBody>
      <dsp:txXfrm>
        <a:off x="2404122" y="1219232"/>
        <a:ext cx="661795" cy="330897"/>
      </dsp:txXfrm>
    </dsp:sp>
    <dsp:sp modelId="{2111E0AA-48F9-4F9E-86A9-2AF4CBCEF10E}">
      <dsp:nvSpPr>
        <dsp:cNvPr id="0" name=""/>
        <dsp:cNvSpPr/>
      </dsp:nvSpPr>
      <dsp:spPr>
        <a:xfrm>
          <a:off x="2003736" y="1689106"/>
          <a:ext cx="661795" cy="330897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[152] SRF (9.5)</a:t>
          </a:r>
        </a:p>
      </dsp:txBody>
      <dsp:txXfrm>
        <a:off x="2003736" y="1689106"/>
        <a:ext cx="661795" cy="330897"/>
      </dsp:txXfrm>
    </dsp:sp>
    <dsp:sp modelId="{FB536E91-04BA-4A4F-8714-9DC6D7B9BC94}">
      <dsp:nvSpPr>
        <dsp:cNvPr id="0" name=""/>
        <dsp:cNvSpPr/>
      </dsp:nvSpPr>
      <dsp:spPr>
        <a:xfrm>
          <a:off x="2169185" y="2158981"/>
          <a:ext cx="661795" cy="330897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[152] Powering (2.5)</a:t>
          </a:r>
        </a:p>
      </dsp:txBody>
      <dsp:txXfrm>
        <a:off x="2169185" y="2158981"/>
        <a:ext cx="661795" cy="330897"/>
      </dsp:txXfrm>
    </dsp:sp>
    <dsp:sp modelId="{31F6AC45-64D6-4275-8791-3BFA7885EFA4}">
      <dsp:nvSpPr>
        <dsp:cNvPr id="0" name=""/>
        <dsp:cNvSpPr/>
      </dsp:nvSpPr>
      <dsp:spPr>
        <a:xfrm>
          <a:off x="2169185" y="2628855"/>
          <a:ext cx="661795" cy="330897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[152] Feeder, circulator, coupler (2)</a:t>
          </a:r>
        </a:p>
      </dsp:txBody>
      <dsp:txXfrm>
        <a:off x="2169185" y="2628855"/>
        <a:ext cx="661795" cy="330897"/>
      </dsp:txXfrm>
    </dsp:sp>
    <dsp:sp modelId="{9DBA31F1-DD18-4E52-8E98-E5899FE39603}">
      <dsp:nvSpPr>
        <dsp:cNvPr id="0" name=""/>
        <dsp:cNvSpPr/>
      </dsp:nvSpPr>
      <dsp:spPr>
        <a:xfrm>
          <a:off x="2169185" y="3098730"/>
          <a:ext cx="661795" cy="330897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[152] Cavity &amp; tuning (2.5)</a:t>
          </a:r>
        </a:p>
      </dsp:txBody>
      <dsp:txXfrm>
        <a:off x="2169185" y="3098730"/>
        <a:ext cx="661795" cy="330897"/>
      </dsp:txXfrm>
    </dsp:sp>
    <dsp:sp modelId="{06E5FD87-839F-4836-9FC2-5EA10B307275}">
      <dsp:nvSpPr>
        <dsp:cNvPr id="0" name=""/>
        <dsp:cNvSpPr/>
      </dsp:nvSpPr>
      <dsp:spPr>
        <a:xfrm>
          <a:off x="2169185" y="3568604"/>
          <a:ext cx="661795" cy="330897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[152] LLRF (2.5)</a:t>
          </a:r>
        </a:p>
      </dsp:txBody>
      <dsp:txXfrm>
        <a:off x="2169185" y="3568604"/>
        <a:ext cx="661795" cy="330897"/>
      </dsp:txXfrm>
    </dsp:sp>
    <dsp:sp modelId="{88AE6FBE-7677-4FCE-BF53-4A8B213AF572}">
      <dsp:nvSpPr>
        <dsp:cNvPr id="0" name=""/>
        <dsp:cNvSpPr/>
      </dsp:nvSpPr>
      <dsp:spPr>
        <a:xfrm>
          <a:off x="2804508" y="1689106"/>
          <a:ext cx="661795" cy="330897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[58] SRF </a:t>
          </a:r>
          <a:r>
            <a:rPr lang="en-US" sz="700" kern="1200" dirty="0" err="1">
              <a:solidFill>
                <a:sysClr val="window" lastClr="FFFFFF"/>
              </a:solidFill>
              <a:latin typeface="Arial"/>
              <a:ea typeface="+mn-ea"/>
              <a:cs typeface="+mn-cs"/>
            </a:rPr>
            <a:t>Cryo</a:t>
          </a: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-module (0.5)</a:t>
          </a:r>
        </a:p>
      </dsp:txBody>
      <dsp:txXfrm>
        <a:off x="2804508" y="1689106"/>
        <a:ext cx="661795" cy="330897"/>
      </dsp:txXfrm>
    </dsp:sp>
    <dsp:sp modelId="{FB7F0497-AC5A-4037-AD7C-46BFF22DDE6B}">
      <dsp:nvSpPr>
        <dsp:cNvPr id="0" name=""/>
        <dsp:cNvSpPr/>
      </dsp:nvSpPr>
      <dsp:spPr>
        <a:xfrm>
          <a:off x="2969957" y="2158981"/>
          <a:ext cx="661795" cy="330897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[58] Valve box (0.2)</a:t>
          </a:r>
        </a:p>
      </dsp:txBody>
      <dsp:txXfrm>
        <a:off x="2969957" y="2158981"/>
        <a:ext cx="661795" cy="330897"/>
      </dsp:txXfrm>
    </dsp:sp>
    <dsp:sp modelId="{0DEAD7B1-F20B-4975-879B-1C97F65BCAE9}">
      <dsp:nvSpPr>
        <dsp:cNvPr id="0" name=""/>
        <dsp:cNvSpPr/>
      </dsp:nvSpPr>
      <dsp:spPr>
        <a:xfrm>
          <a:off x="2969957" y="2628855"/>
          <a:ext cx="661795" cy="330897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[58] Cryostat (0.3)</a:t>
          </a:r>
        </a:p>
      </dsp:txBody>
      <dsp:txXfrm>
        <a:off x="2969957" y="2628855"/>
        <a:ext cx="661795" cy="330897"/>
      </dsp:txXfrm>
    </dsp:sp>
    <dsp:sp modelId="{B94E3941-3687-427D-B799-4F3006AADBF5}">
      <dsp:nvSpPr>
        <dsp:cNvPr id="0" name=""/>
        <dsp:cNvSpPr/>
      </dsp:nvSpPr>
      <dsp:spPr>
        <a:xfrm>
          <a:off x="3439832" y="1219232"/>
          <a:ext cx="661795" cy="330897"/>
        </a:xfrm>
        <a:prstGeom prst="rect">
          <a:avLst/>
        </a:prstGeom>
        <a:solidFill>
          <a:srgbClr val="4D4D4D">
            <a:tint val="99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Non-redundant RF &amp; </a:t>
          </a:r>
          <a:r>
            <a:rPr lang="en-US" sz="700" kern="1200" dirty="0" err="1">
              <a:solidFill>
                <a:sysClr val="window" lastClr="FFFFFF"/>
              </a:solidFill>
              <a:latin typeface="Arial"/>
              <a:ea typeface="+mn-ea"/>
              <a:cs typeface="+mn-cs"/>
            </a:rPr>
            <a:t>Cryo</a:t>
          </a: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 (0.1)</a:t>
          </a:r>
        </a:p>
      </dsp:txBody>
      <dsp:txXfrm>
        <a:off x="3439832" y="1219232"/>
        <a:ext cx="661795" cy="330897"/>
      </dsp:txXfrm>
    </dsp:sp>
    <dsp:sp modelId="{12FDE786-B43A-4B42-99F8-C2211595EB77}">
      <dsp:nvSpPr>
        <dsp:cNvPr id="0" name=""/>
        <dsp:cNvSpPr/>
      </dsp:nvSpPr>
      <dsp:spPr>
        <a:xfrm>
          <a:off x="3605280" y="1689106"/>
          <a:ext cx="661795" cy="330897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[1] </a:t>
          </a:r>
          <a:r>
            <a:rPr lang="en-US" sz="700" kern="1200" dirty="0" err="1">
              <a:solidFill>
                <a:sysClr val="window" lastClr="FFFFFF"/>
              </a:solidFill>
              <a:latin typeface="Arial"/>
              <a:ea typeface="+mn-ea"/>
              <a:cs typeface="+mn-cs"/>
            </a:rPr>
            <a:t>Rebuncher</a:t>
          </a: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 100 MeV (0.1)</a:t>
          </a:r>
        </a:p>
      </dsp:txBody>
      <dsp:txXfrm>
        <a:off x="3605280" y="1689106"/>
        <a:ext cx="661795" cy="330897"/>
      </dsp:txXfrm>
    </dsp:sp>
    <dsp:sp modelId="{36BCA34E-F843-46A6-BBFD-A30F723E56ED}">
      <dsp:nvSpPr>
        <dsp:cNvPr id="0" name=""/>
        <dsp:cNvSpPr/>
      </dsp:nvSpPr>
      <dsp:spPr>
        <a:xfrm>
          <a:off x="4406052" y="1219232"/>
          <a:ext cx="661795" cy="330897"/>
        </a:xfrm>
        <a:prstGeom prst="rect">
          <a:avLst/>
        </a:prstGeom>
        <a:solidFill>
          <a:srgbClr val="4D4D4D">
            <a:tint val="99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Quad – Matrix / Compensation </a:t>
          </a:r>
          <a:r>
            <a:rPr lang="de-DE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&lt;80%&gt; </a:t>
          </a: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(1)</a:t>
          </a:r>
        </a:p>
      </dsp:txBody>
      <dsp:txXfrm>
        <a:off x="4406052" y="1219232"/>
        <a:ext cx="661795" cy="330897"/>
      </dsp:txXfrm>
    </dsp:sp>
    <dsp:sp modelId="{F48610CF-BC20-453C-903A-3A027758BE49}">
      <dsp:nvSpPr>
        <dsp:cNvPr id="0" name=""/>
        <dsp:cNvSpPr/>
      </dsp:nvSpPr>
      <dsp:spPr>
        <a:xfrm>
          <a:off x="4406052" y="1689106"/>
          <a:ext cx="661795" cy="330897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[59] Quad- doublets (5)</a:t>
          </a:r>
        </a:p>
      </dsp:txBody>
      <dsp:txXfrm>
        <a:off x="4406052" y="1689106"/>
        <a:ext cx="661795" cy="330897"/>
      </dsp:txXfrm>
    </dsp:sp>
    <dsp:sp modelId="{86B42267-F01B-4B3D-A41C-2CB56095381A}">
      <dsp:nvSpPr>
        <dsp:cNvPr id="0" name=""/>
        <dsp:cNvSpPr/>
      </dsp:nvSpPr>
      <dsp:spPr>
        <a:xfrm>
          <a:off x="4571501" y="2158981"/>
          <a:ext cx="661795" cy="330897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[59] Converters (3)</a:t>
          </a:r>
        </a:p>
      </dsp:txBody>
      <dsp:txXfrm>
        <a:off x="4571501" y="2158981"/>
        <a:ext cx="661795" cy="330897"/>
      </dsp:txXfrm>
    </dsp:sp>
    <dsp:sp modelId="{FE570036-8A62-4AEB-99B2-E93CF120D42B}">
      <dsp:nvSpPr>
        <dsp:cNvPr id="0" name=""/>
        <dsp:cNvSpPr/>
      </dsp:nvSpPr>
      <dsp:spPr>
        <a:xfrm>
          <a:off x="4571501" y="2628855"/>
          <a:ext cx="661795" cy="330897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Cabling and connectors (1.8)</a:t>
          </a:r>
        </a:p>
      </dsp:txBody>
      <dsp:txXfrm>
        <a:off x="4571501" y="2628855"/>
        <a:ext cx="661795" cy="330897"/>
      </dsp:txXfrm>
    </dsp:sp>
    <dsp:sp modelId="{7B3EFF73-4445-4E9F-91E4-AD1CA79E10B8}">
      <dsp:nvSpPr>
        <dsp:cNvPr id="0" name=""/>
        <dsp:cNvSpPr/>
      </dsp:nvSpPr>
      <dsp:spPr>
        <a:xfrm>
          <a:off x="4571501" y="3098730"/>
          <a:ext cx="661795" cy="330897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[59] Doublet Magnets (0.2)</a:t>
          </a:r>
        </a:p>
      </dsp:txBody>
      <dsp:txXfrm>
        <a:off x="4571501" y="3098730"/>
        <a:ext cx="661795" cy="330897"/>
      </dsp:txXfrm>
    </dsp:sp>
    <dsp:sp modelId="{488DA6D9-E6C3-40A0-B6A0-28A27EF041AC}">
      <dsp:nvSpPr>
        <dsp:cNvPr id="0" name=""/>
        <dsp:cNvSpPr/>
      </dsp:nvSpPr>
      <dsp:spPr>
        <a:xfrm>
          <a:off x="5206825" y="1219232"/>
          <a:ext cx="661795" cy="330897"/>
        </a:xfrm>
        <a:prstGeom prst="rect">
          <a:avLst/>
        </a:prstGeom>
        <a:solidFill>
          <a:srgbClr val="4D4D4D">
            <a:tint val="99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Vacuum (0.25)</a:t>
          </a:r>
        </a:p>
      </dsp:txBody>
      <dsp:txXfrm>
        <a:off x="5206825" y="1219232"/>
        <a:ext cx="661795" cy="330897"/>
      </dsp:txXfrm>
    </dsp:sp>
    <dsp:sp modelId="{00860F35-D106-45FF-A4FB-81303854F36A}">
      <dsp:nvSpPr>
        <dsp:cNvPr id="0" name=""/>
        <dsp:cNvSpPr/>
      </dsp:nvSpPr>
      <dsp:spPr>
        <a:xfrm>
          <a:off x="6007597" y="1219232"/>
          <a:ext cx="661795" cy="330897"/>
        </a:xfrm>
        <a:prstGeom prst="rect">
          <a:avLst/>
        </a:prstGeom>
        <a:solidFill>
          <a:srgbClr val="4D4D4D">
            <a:tint val="99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BI (0.25)</a:t>
          </a:r>
        </a:p>
      </dsp:txBody>
      <dsp:txXfrm>
        <a:off x="6007597" y="1219232"/>
        <a:ext cx="661795" cy="330897"/>
      </dsp:txXfrm>
    </dsp:sp>
    <dsp:sp modelId="{0C6EB58B-B038-4699-AB13-FFEE57B78034}">
      <dsp:nvSpPr>
        <dsp:cNvPr id="0" name=""/>
        <dsp:cNvSpPr/>
      </dsp:nvSpPr>
      <dsp:spPr>
        <a:xfrm>
          <a:off x="6808369" y="1219232"/>
          <a:ext cx="661795" cy="330897"/>
        </a:xfrm>
        <a:prstGeom prst="rect">
          <a:avLst/>
        </a:prstGeom>
        <a:solidFill>
          <a:srgbClr val="4D4D4D">
            <a:tint val="99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Non-redundant kickers and magnets (0.1)</a:t>
          </a:r>
        </a:p>
      </dsp:txBody>
      <dsp:txXfrm>
        <a:off x="6808369" y="1219232"/>
        <a:ext cx="661795" cy="330897"/>
      </dsp:txXfrm>
    </dsp:sp>
    <dsp:sp modelId="{7C916EDB-4332-4149-AC17-C3C9C500D49F}">
      <dsp:nvSpPr>
        <dsp:cNvPr id="0" name=""/>
        <dsp:cNvSpPr/>
      </dsp:nvSpPr>
      <dsp:spPr>
        <a:xfrm>
          <a:off x="6973817" y="1689106"/>
          <a:ext cx="661795" cy="330897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Kickers 100 MeV (0.001)</a:t>
          </a:r>
        </a:p>
      </dsp:txBody>
      <dsp:txXfrm>
        <a:off x="6973817" y="1689106"/>
        <a:ext cx="661795" cy="330897"/>
      </dsp:txXfrm>
    </dsp:sp>
    <dsp:sp modelId="{ECEB9ECE-C8B2-4500-BF69-9285F2F8B60D}">
      <dsp:nvSpPr>
        <dsp:cNvPr id="0" name=""/>
        <dsp:cNvSpPr/>
      </dsp:nvSpPr>
      <dsp:spPr>
        <a:xfrm>
          <a:off x="6973817" y="2158981"/>
          <a:ext cx="661795" cy="330897"/>
        </a:xfrm>
        <a:prstGeom prst="rect">
          <a:avLst/>
        </a:prstGeom>
        <a:solidFill>
          <a:srgbClr val="4D4D4D">
            <a:tint val="7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Dipole 600 MeV (0.099)</a:t>
          </a:r>
        </a:p>
      </dsp:txBody>
      <dsp:txXfrm>
        <a:off x="6973817" y="2158981"/>
        <a:ext cx="661795" cy="330897"/>
      </dsp:txXfrm>
    </dsp:sp>
    <dsp:sp modelId="{64B1788A-2800-4E52-B4CC-251E5B268638}">
      <dsp:nvSpPr>
        <dsp:cNvPr id="0" name=""/>
        <dsp:cNvSpPr/>
      </dsp:nvSpPr>
      <dsp:spPr>
        <a:xfrm>
          <a:off x="5407018" y="749357"/>
          <a:ext cx="661795" cy="330897"/>
        </a:xfrm>
        <a:prstGeom prst="rect">
          <a:avLst/>
        </a:prstGeom>
        <a:solidFill>
          <a:srgbClr val="4D4D4D">
            <a:shade val="8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BDS to reactor (0.2)</a:t>
          </a:r>
        </a:p>
      </dsp:txBody>
      <dsp:txXfrm>
        <a:off x="5407018" y="749357"/>
        <a:ext cx="661795" cy="330897"/>
      </dsp:txXfrm>
    </dsp:sp>
    <dsp:sp modelId="{B98263AC-9709-4990-896A-3AAEACA1FA3B}">
      <dsp:nvSpPr>
        <dsp:cNvPr id="0" name=""/>
        <dsp:cNvSpPr/>
      </dsp:nvSpPr>
      <dsp:spPr>
        <a:xfrm>
          <a:off x="7609141" y="749357"/>
          <a:ext cx="661795" cy="330897"/>
        </a:xfrm>
        <a:prstGeom prst="rect">
          <a:avLst/>
        </a:prstGeom>
        <a:solidFill>
          <a:srgbClr val="4D4D4D">
            <a:shade val="8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Infrastructure and Services (3.6)</a:t>
          </a:r>
        </a:p>
      </dsp:txBody>
      <dsp:txXfrm>
        <a:off x="7609141" y="749357"/>
        <a:ext cx="661795" cy="330897"/>
      </dsp:txXfrm>
    </dsp:sp>
    <dsp:sp modelId="{70594EC9-F986-494D-ADE6-E61F69D4FDD0}">
      <dsp:nvSpPr>
        <dsp:cNvPr id="0" name=""/>
        <dsp:cNvSpPr/>
      </dsp:nvSpPr>
      <dsp:spPr>
        <a:xfrm>
          <a:off x="7774589" y="1219232"/>
          <a:ext cx="661795" cy="330897"/>
        </a:xfrm>
        <a:prstGeom prst="rect">
          <a:avLst/>
        </a:prstGeom>
        <a:solidFill>
          <a:srgbClr val="4D4D4D">
            <a:tint val="99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Controls and Timing (1)</a:t>
          </a:r>
        </a:p>
      </dsp:txBody>
      <dsp:txXfrm>
        <a:off x="7774589" y="1219232"/>
        <a:ext cx="661795" cy="330897"/>
      </dsp:txXfrm>
    </dsp:sp>
    <dsp:sp modelId="{6AF774BF-8E84-45A0-8655-A0F2F3D66D3F}">
      <dsp:nvSpPr>
        <dsp:cNvPr id="0" name=""/>
        <dsp:cNvSpPr/>
      </dsp:nvSpPr>
      <dsp:spPr>
        <a:xfrm>
          <a:off x="7774589" y="1689106"/>
          <a:ext cx="661795" cy="330897"/>
        </a:xfrm>
        <a:prstGeom prst="rect">
          <a:avLst/>
        </a:prstGeom>
        <a:solidFill>
          <a:srgbClr val="4D4D4D">
            <a:tint val="99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Electrical network (1)</a:t>
          </a:r>
        </a:p>
      </dsp:txBody>
      <dsp:txXfrm>
        <a:off x="7774589" y="1689106"/>
        <a:ext cx="661795" cy="330897"/>
      </dsp:txXfrm>
    </dsp:sp>
    <dsp:sp modelId="{262E21F6-0749-4341-B130-E432811FD604}">
      <dsp:nvSpPr>
        <dsp:cNvPr id="0" name=""/>
        <dsp:cNvSpPr/>
      </dsp:nvSpPr>
      <dsp:spPr>
        <a:xfrm>
          <a:off x="7774589" y="2158981"/>
          <a:ext cx="661795" cy="330897"/>
        </a:xfrm>
        <a:prstGeom prst="rect">
          <a:avLst/>
        </a:prstGeom>
        <a:solidFill>
          <a:srgbClr val="4D4D4D">
            <a:tint val="99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Cooling plant &amp; ventilation (0.25)</a:t>
          </a:r>
        </a:p>
      </dsp:txBody>
      <dsp:txXfrm>
        <a:off x="7774589" y="2158981"/>
        <a:ext cx="661795" cy="330897"/>
      </dsp:txXfrm>
    </dsp:sp>
    <dsp:sp modelId="{F18CCF2D-F56B-4D1A-95EA-30A367D1EC9F}">
      <dsp:nvSpPr>
        <dsp:cNvPr id="0" name=""/>
        <dsp:cNvSpPr/>
      </dsp:nvSpPr>
      <dsp:spPr>
        <a:xfrm>
          <a:off x="7774589" y="2628855"/>
          <a:ext cx="661795" cy="330897"/>
        </a:xfrm>
        <a:prstGeom prst="rect">
          <a:avLst/>
        </a:prstGeom>
        <a:solidFill>
          <a:srgbClr val="4D4D4D">
            <a:tint val="99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 err="1">
              <a:solidFill>
                <a:sysClr val="window" lastClr="FFFFFF"/>
              </a:solidFill>
              <a:latin typeface="Arial"/>
              <a:ea typeface="+mn-ea"/>
              <a:cs typeface="+mn-cs"/>
            </a:rPr>
            <a:t>Cryo</a:t>
          </a: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 plant &amp; distribution (0.75)</a:t>
          </a:r>
        </a:p>
      </dsp:txBody>
      <dsp:txXfrm>
        <a:off x="7774589" y="2628855"/>
        <a:ext cx="661795" cy="330897"/>
      </dsp:txXfrm>
    </dsp:sp>
    <dsp:sp modelId="{B28B2226-FC5E-43A3-9CE3-5D04B7AC84C4}">
      <dsp:nvSpPr>
        <dsp:cNvPr id="0" name=""/>
        <dsp:cNvSpPr/>
      </dsp:nvSpPr>
      <dsp:spPr>
        <a:xfrm>
          <a:off x="7774589" y="3098730"/>
          <a:ext cx="661795" cy="330897"/>
        </a:xfrm>
        <a:prstGeom prst="rect">
          <a:avLst/>
        </a:prstGeom>
        <a:solidFill>
          <a:srgbClr val="4D4D4D">
            <a:tint val="99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Pressurized air (0.1)</a:t>
          </a:r>
        </a:p>
      </dsp:txBody>
      <dsp:txXfrm>
        <a:off x="7774589" y="3098730"/>
        <a:ext cx="661795" cy="330897"/>
      </dsp:txXfrm>
    </dsp:sp>
    <dsp:sp modelId="{D1D21F78-21FA-4F79-8198-49AF02F8DDC4}">
      <dsp:nvSpPr>
        <dsp:cNvPr id="0" name=""/>
        <dsp:cNvSpPr/>
      </dsp:nvSpPr>
      <dsp:spPr>
        <a:xfrm>
          <a:off x="7774589" y="3568604"/>
          <a:ext cx="661795" cy="330897"/>
        </a:xfrm>
        <a:prstGeom prst="rect">
          <a:avLst/>
        </a:prstGeom>
        <a:solidFill>
          <a:srgbClr val="4D4D4D">
            <a:tint val="99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IT services (0.5)</a:t>
          </a:r>
        </a:p>
      </dsp:txBody>
      <dsp:txXfrm>
        <a:off x="7774589" y="3568604"/>
        <a:ext cx="661795" cy="330897"/>
      </dsp:txXfrm>
    </dsp:sp>
    <dsp:sp modelId="{3D55EECB-84AF-416E-BBDD-B721E755EA9B}">
      <dsp:nvSpPr>
        <dsp:cNvPr id="0" name=""/>
        <dsp:cNvSpPr/>
      </dsp:nvSpPr>
      <dsp:spPr>
        <a:xfrm>
          <a:off x="8409913" y="749357"/>
          <a:ext cx="661795" cy="330897"/>
        </a:xfrm>
        <a:prstGeom prst="rect">
          <a:avLst/>
        </a:prstGeom>
        <a:solidFill>
          <a:srgbClr val="4D4D4D">
            <a:shade val="80000"/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Operation &amp; maintenance (0.2)</a:t>
          </a:r>
        </a:p>
      </dsp:txBody>
      <dsp:txXfrm>
        <a:off x="8409913" y="749357"/>
        <a:ext cx="661795" cy="33089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>
          <a:xfrm>
            <a:off x="271675" y="8741157"/>
            <a:ext cx="798584" cy="402843"/>
            <a:chOff x="222512" y="4397202"/>
            <a:chExt cx="798584" cy="402843"/>
          </a:xfrm>
        </p:grpSpPr>
        <p:cxnSp>
          <p:nvCxnSpPr>
            <p:cNvPr id="32" name="Rechte verbindingslijn 15">
              <a:extLst>
                <a:ext uri="{FF2B5EF4-FFF2-40B4-BE49-F238E27FC236}">
                  <a16:creationId xmlns:a16="http://schemas.microsoft.com/office/drawing/2014/main" id="{37B50A3E-DDAF-4A5F-ADED-8187508C78E1}"/>
                </a:ext>
              </a:extLst>
            </p:cNvPr>
            <p:cNvCxnSpPr>
              <a:cxnSpLocks/>
            </p:cNvCxnSpPr>
            <p:nvPr/>
          </p:nvCxnSpPr>
          <p:spPr>
            <a:xfrm>
              <a:off x="1021096" y="4397202"/>
              <a:ext cx="0" cy="402843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3" name="Afbeelding 13">
              <a:extLst>
                <a:ext uri="{FF2B5EF4-FFF2-40B4-BE49-F238E27FC236}">
                  <a16:creationId xmlns:a16="http://schemas.microsoft.com/office/drawing/2014/main" id="{522606A1-5983-4956-9002-1FC101450FA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2512" y="4481976"/>
              <a:ext cx="720000" cy="164148"/>
            </a:xfrm>
            <a:prstGeom prst="rect">
              <a:avLst/>
            </a:prstGeom>
          </p:spPr>
        </p:pic>
      </p:grpSp>
      <p:sp>
        <p:nvSpPr>
          <p:cNvPr id="37" name="Footer Placeholder 36"/>
          <p:cNvSpPr>
            <a:spLocks noGrp="1"/>
          </p:cNvSpPr>
          <p:nvPr>
            <p:ph type="ftr" sz="quarter" idx="2"/>
          </p:nvPr>
        </p:nvSpPr>
        <p:spPr>
          <a:xfrm>
            <a:off x="1178414" y="8026453"/>
            <a:ext cx="5428864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r>
              <a:rPr lang="en-GB" sz="800">
                <a:solidFill>
                  <a:schemeClr val="tx1">
                    <a:lumMod val="50000"/>
                    <a:lumOff val="50000"/>
                  </a:schemeClr>
                </a:solidFill>
                <a:ea typeface="Times New Roman" pitchFamily="18" charset="0"/>
                <a:cs typeface="Arial" charset="0"/>
              </a:rPr>
              <a:t>Copyright © SCK CEN - </a:t>
            </a:r>
            <a:r>
              <a:rPr lang="en-US" sz="800">
                <a:solidFill>
                  <a:schemeClr val="tx1">
                    <a:lumMod val="50000"/>
                    <a:lumOff val="50000"/>
                  </a:schemeClr>
                </a:solidFill>
                <a:ea typeface="Times New Roman" pitchFamily="18" charset="0"/>
                <a:cs typeface="Arial" charset="0"/>
              </a:rPr>
              <a:t>This presentation contains data, information and formats for dedicated use only and may not be communicated, copied, reproduced, distributed or cited without the explicit written permission of SCK CEN.</a:t>
            </a:r>
            <a:endParaRPr lang="en-US" sz="800" dirty="0">
              <a:solidFill>
                <a:schemeClr val="tx1">
                  <a:lumMod val="50000"/>
                  <a:lumOff val="50000"/>
                </a:schemeClr>
              </a:solidFill>
              <a:ea typeface="Times New Roman" pitchFamily="18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572824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 title="AlexandriaReference"/>
          <p:cNvSpPr txBox="1"/>
          <p:nvPr/>
        </p:nvSpPr>
        <p:spPr>
          <a:xfrm>
            <a:off x="1002044" y="8723215"/>
            <a:ext cx="1440000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kumimoji="0" lang="en-US" sz="800" b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&lt;generated automatically&gt;</a:t>
            </a:r>
            <a:endParaRPr kumimoji="0" lang="nl-BE" sz="800" b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TextBox 15" title="AlexandriaDistributionLimitations"/>
          <p:cNvSpPr txBox="1"/>
          <p:nvPr/>
        </p:nvSpPr>
        <p:spPr>
          <a:xfrm>
            <a:off x="4924931" y="8892424"/>
            <a:ext cx="1660707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kumimoji="0" lang="fr-FR" sz="800" b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ISC: Restricted</a:t>
            </a:r>
            <a:endParaRPr kumimoji="0" lang="fr-FR" sz="800" b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TextBox 16" title="AlexandriaAlternativeReference"/>
          <p:cNvSpPr txBox="1"/>
          <p:nvPr/>
        </p:nvSpPr>
        <p:spPr>
          <a:xfrm>
            <a:off x="1002044" y="8866923"/>
            <a:ext cx="1440000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kumimoji="0" lang="en-US" sz="800" b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altenative reference</a:t>
            </a:r>
            <a:endParaRPr kumimoji="0" lang="nl-BE" sz="800" b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 txBox="1">
            <a:spLocks/>
          </p:cNvSpPr>
          <p:nvPr/>
        </p:nvSpPr>
        <p:spPr>
          <a:xfrm>
            <a:off x="3749673" y="8784848"/>
            <a:ext cx="2743200" cy="14317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1000" b="1" kern="1200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814E660-BF25-4843-B2A0-93C6E2B6253B}" type="slidenum">
              <a:rPr lang="en-BE" sz="9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BE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/>
        </p:nvCxnSpPr>
        <p:spPr>
          <a:xfrm>
            <a:off x="6585638" y="8784848"/>
            <a:ext cx="0" cy="40284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/>
        </p:nvCxnSpPr>
        <p:spPr>
          <a:xfrm>
            <a:off x="1021096" y="8759345"/>
            <a:ext cx="0" cy="40284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Afbeelding 13">
            <a:extLst>
              <a:ext uri="{FF2B5EF4-FFF2-40B4-BE49-F238E27FC236}">
                <a16:creationId xmlns:a16="http://schemas.microsoft.com/office/drawing/2014/main" id="{522606A1-5983-4956-9002-1FC101450FA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512" y="8765797"/>
            <a:ext cx="720000" cy="164148"/>
          </a:xfrm>
          <a:prstGeom prst="rect">
            <a:avLst/>
          </a:prstGeom>
        </p:spPr>
      </p:pic>
      <p:sp>
        <p:nvSpPr>
          <p:cNvPr id="37" name="Text Box 11"/>
          <p:cNvSpPr txBox="1">
            <a:spLocks noChangeArrowheads="1"/>
          </p:cNvSpPr>
          <p:nvPr/>
        </p:nvSpPr>
        <p:spPr bwMode="auto">
          <a:xfrm>
            <a:off x="703643" y="310337"/>
            <a:ext cx="5450714" cy="461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95" tIns="45747" rIns="91495" bIns="45747">
            <a:spAutoFit/>
          </a:bodyPr>
          <a:lstStyle>
            <a:lvl1pPr>
              <a:tabLst>
                <a:tab pos="9331325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>
              <a:tabLst>
                <a:tab pos="9331325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>
              <a:tabLst>
                <a:tab pos="9331325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373188">
              <a:tabLst>
                <a:tab pos="9331325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830388">
              <a:tabLst>
                <a:tab pos="9331325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287588" eaLnBrk="0" fontAlgn="base" hangingPunct="0">
              <a:spcBef>
                <a:spcPct val="0"/>
              </a:spcBef>
              <a:spcAft>
                <a:spcPct val="0"/>
              </a:spcAft>
              <a:tabLst>
                <a:tab pos="9331325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744788" eaLnBrk="0" fontAlgn="base" hangingPunct="0">
              <a:spcBef>
                <a:spcPct val="0"/>
              </a:spcBef>
              <a:spcAft>
                <a:spcPct val="0"/>
              </a:spcAft>
              <a:tabLst>
                <a:tab pos="9331325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201988" eaLnBrk="0" fontAlgn="base" hangingPunct="0">
              <a:spcBef>
                <a:spcPct val="0"/>
              </a:spcBef>
              <a:spcAft>
                <a:spcPct val="0"/>
              </a:spcAft>
              <a:tabLst>
                <a:tab pos="9331325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659188" eaLnBrk="0" fontAlgn="base" hangingPunct="0">
              <a:spcBef>
                <a:spcPct val="0"/>
              </a:spcBef>
              <a:spcAft>
                <a:spcPct val="0"/>
              </a:spcAft>
              <a:tabLst>
                <a:tab pos="9331325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r>
              <a:rPr lang="en-GB" sz="8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Times New Roman" pitchFamily="18" charset="0"/>
                <a:cs typeface="Arial" charset="0"/>
              </a:rPr>
              <a:t>Copyright © SCK CEN - 2020 - </a:t>
            </a:r>
            <a:r>
              <a:rPr 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Times New Roman" pitchFamily="18" charset="0"/>
                <a:cs typeface="Arial" charset="0"/>
              </a:rPr>
              <a:t>This presentation contains data, information and formats for dedicated use only and may not be communicated, copied, reproduced, distributed or cited without the explicit written permission of SCK CEN.</a:t>
            </a:r>
            <a:endParaRPr lang="en-US" sz="8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Times New Roman" pitchFamily="18" charset="0"/>
              <a:cs typeface="Arial" charset="0"/>
            </a:endParaRPr>
          </a:p>
        </p:txBody>
      </p:sp>
      <p:sp>
        <p:nvSpPr>
          <p:cNvPr id="41" name="Notes Placeholder 40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43898767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150" dirty="0"/>
          </a:p>
        </p:txBody>
      </p:sp>
    </p:spTree>
    <p:extLst>
      <p:ext uri="{BB962C8B-B14F-4D97-AF65-F5344CB8AC3E}">
        <p14:creationId xmlns:p14="http://schemas.microsoft.com/office/powerpoint/2010/main" val="10620680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00549"/>
            <a:ext cx="5486400" cy="360045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6200" y="9482479"/>
            <a:ext cx="2971800" cy="458787"/>
          </a:xfrm>
          <a:prstGeom prst="rect">
            <a:avLst/>
          </a:prstGeom>
        </p:spPr>
        <p:txBody>
          <a:bodyPr/>
          <a:lstStyle/>
          <a:p>
            <a:fld id="{08D528F1-0B43-4D94-A9A2-5B899A16B97D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6594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0338" y="779463"/>
            <a:ext cx="6780212" cy="38147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84248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6426AA-B911-4315-8B16-824FEF6D4B62}" type="slidenum">
              <a:rPr kumimoji="0" lang="nl-B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728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l-B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71320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67203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69670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00549"/>
            <a:ext cx="5486400" cy="36004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6200" y="9482479"/>
            <a:ext cx="2971800" cy="458787"/>
          </a:xfrm>
          <a:prstGeom prst="rect">
            <a:avLst/>
          </a:prstGeom>
        </p:spPr>
        <p:txBody>
          <a:bodyPr/>
          <a:lstStyle/>
          <a:p>
            <a:fld id="{08D528F1-0B43-4D94-A9A2-5B899A16B97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95876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1962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29964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79356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Afbeelding 3">
            <a:extLst>
              <a:ext uri="{FF2B5EF4-FFF2-40B4-BE49-F238E27FC236}">
                <a16:creationId xmlns:a16="http://schemas.microsoft.com/office/drawing/2014/main" id="{AA5B3CA4-7383-4A08-AD3F-748BE844E0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1" t="29944" r="50129" b="9678"/>
          <a:stretch/>
        </p:blipFill>
        <p:spPr>
          <a:xfrm>
            <a:off x="754744" y="756557"/>
            <a:ext cx="5331731" cy="5355772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1341619" y="2819399"/>
            <a:ext cx="3278005" cy="14763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0230" y="3129533"/>
            <a:ext cx="2331259" cy="844082"/>
          </a:xfrm>
          <a:prstGeom prst="rect">
            <a:avLst/>
          </a:prstGeom>
        </p:spPr>
      </p:pic>
      <p:sp>
        <p:nvSpPr>
          <p:cNvPr id="1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624749" y="3051504"/>
            <a:ext cx="4896685" cy="498598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6624749" y="5013990"/>
            <a:ext cx="4896685" cy="369332"/>
          </a:xfrm>
        </p:spPr>
        <p:txBody>
          <a:bodyPr anchor="ctr" anchorCtr="0">
            <a:normAutofit/>
          </a:bodyPr>
          <a:lstStyle>
            <a:lvl1pPr marL="8890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b="0" kern="120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add nam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8569229" y="1222424"/>
            <a:ext cx="2882536" cy="7017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2" algn="r">
              <a:lnSpc>
                <a:spcPct val="115000"/>
              </a:lnSpc>
              <a:spcAft>
                <a:spcPts val="0"/>
              </a:spcAft>
            </a:pPr>
            <a:r>
              <a:rPr lang="en-GB" sz="1200" b="1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YRRHA phase 1</a:t>
            </a:r>
            <a:endParaRPr lang="en-US" sz="1200" dirty="0">
              <a:effectLst/>
              <a:latin typeface="Segoe UI" panose="020B05020402040202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2" algn="r">
              <a:lnSpc>
                <a:spcPct val="115000"/>
              </a:lnSpc>
              <a:spcAft>
                <a:spcPts val="0"/>
              </a:spcAft>
            </a:pPr>
            <a:r>
              <a:rPr lang="en-GB" sz="1200" b="1" spc="5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plementation</a:t>
            </a:r>
            <a:endParaRPr lang="en-US" sz="1200" dirty="0">
              <a:effectLst/>
              <a:latin typeface="Segoe UI" panose="020B05020402040202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2" algn="r"/>
            <a:r>
              <a:rPr lang="en-GB" sz="1200" spc="260" dirty="0">
                <a:solidFill>
                  <a:srgbClr val="808080"/>
                </a:solidFill>
                <a:effectLst/>
                <a:latin typeface="Segoe UI Light" panose="020B0502040204020203" pitchFamily="34" charset="0"/>
                <a:ea typeface="Calibri" panose="020F0502020204030204" pitchFamily="34" charset="0"/>
              </a:rPr>
              <a:t>MINERVA</a:t>
            </a:r>
            <a:endParaRPr lang="en-US" sz="1200" dirty="0"/>
          </a:p>
        </p:txBody>
      </p:sp>
      <p:pic>
        <p:nvPicPr>
          <p:cNvPr id="16" name="Picture 15"/>
          <p:cNvPicPr/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1" t="13245" r="36222" b="57588"/>
          <a:stretch/>
        </p:blipFill>
        <p:spPr bwMode="auto">
          <a:xfrm>
            <a:off x="8559340" y="1968958"/>
            <a:ext cx="2892425" cy="421005"/>
          </a:xfrm>
          <a:prstGeom prst="rect">
            <a:avLst/>
          </a:prstGeom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624749" y="5620203"/>
            <a:ext cx="4896685" cy="369332"/>
          </a:xfrm>
        </p:spPr>
        <p:txBody>
          <a:bodyPr anchor="ctr" anchorCtr="0">
            <a:normAutofit/>
          </a:bodyPr>
          <a:lstStyle>
            <a:lvl1pPr marL="8890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b="0" kern="120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DBBF6F5-DB42-8CA9-F795-36BD86073E5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9976796" y="141178"/>
            <a:ext cx="1544637" cy="10812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108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7405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0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ounded Rectangle 7"/>
          <p:cNvSpPr>
            <a:spLocks/>
          </p:cNvSpPr>
          <p:nvPr userDrawn="1"/>
        </p:nvSpPr>
        <p:spPr bwMode="auto">
          <a:xfrm>
            <a:off x="508000" y="989681"/>
            <a:ext cx="11195872" cy="5391648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09600" y="1141545"/>
            <a:ext cx="10972800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484" y="6392521"/>
            <a:ext cx="10369152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8315173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ictures with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182338" y="5291600"/>
            <a:ext cx="11827325" cy="1418433"/>
            <a:chOff x="182336" y="7877294"/>
            <a:chExt cx="11827325" cy="1418433"/>
          </a:xfrm>
        </p:grpSpPr>
        <p:sp>
          <p:nvSpPr>
            <p:cNvPr id="6" name="Oval 5"/>
            <p:cNvSpPr/>
            <p:nvPr/>
          </p:nvSpPr>
          <p:spPr>
            <a:xfrm rot="5400000">
              <a:off x="182336" y="787729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Oval 6"/>
            <p:cNvSpPr/>
            <p:nvPr/>
          </p:nvSpPr>
          <p:spPr>
            <a:xfrm rot="5400000">
              <a:off x="182336" y="847260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Oval 7"/>
            <p:cNvSpPr/>
            <p:nvPr/>
          </p:nvSpPr>
          <p:spPr>
            <a:xfrm rot="5400000">
              <a:off x="182336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/>
            <p:cNvSpPr/>
            <p:nvPr/>
          </p:nvSpPr>
          <p:spPr>
            <a:xfrm rot="5400000">
              <a:off x="483961" y="8174950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/>
            <p:cNvSpPr/>
            <p:nvPr/>
          </p:nvSpPr>
          <p:spPr>
            <a:xfrm rot="5400000">
              <a:off x="483961" y="847260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/>
            <p:cNvSpPr/>
            <p:nvPr/>
          </p:nvSpPr>
          <p:spPr>
            <a:xfrm rot="5400000">
              <a:off x="48396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/>
            <p:cNvSpPr/>
            <p:nvPr/>
          </p:nvSpPr>
          <p:spPr>
            <a:xfrm rot="5400000">
              <a:off x="77860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/>
            <p:cNvSpPr/>
            <p:nvPr/>
          </p:nvSpPr>
          <p:spPr>
            <a:xfrm rot="5400000">
              <a:off x="137092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18"/>
            <p:cNvSpPr/>
            <p:nvPr/>
          </p:nvSpPr>
          <p:spPr>
            <a:xfrm rot="5400000">
              <a:off x="166937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/>
            <p:cNvSpPr/>
            <p:nvPr/>
          </p:nvSpPr>
          <p:spPr>
            <a:xfrm rot="5400000">
              <a:off x="2266944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Oval 23"/>
            <p:cNvSpPr/>
            <p:nvPr/>
          </p:nvSpPr>
          <p:spPr>
            <a:xfrm rot="5400000">
              <a:off x="2565389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Oval 24"/>
            <p:cNvSpPr/>
            <p:nvPr/>
          </p:nvSpPr>
          <p:spPr>
            <a:xfrm rot="5400000">
              <a:off x="2565389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Oval 25"/>
            <p:cNvSpPr/>
            <p:nvPr/>
          </p:nvSpPr>
          <p:spPr>
            <a:xfrm rot="5400000">
              <a:off x="285983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Oval 26"/>
            <p:cNvSpPr/>
            <p:nvPr/>
          </p:nvSpPr>
          <p:spPr>
            <a:xfrm rot="5400000">
              <a:off x="285983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Oval 27"/>
            <p:cNvSpPr/>
            <p:nvPr/>
          </p:nvSpPr>
          <p:spPr>
            <a:xfrm rot="5400000">
              <a:off x="316365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Oval 28"/>
            <p:cNvSpPr/>
            <p:nvPr/>
          </p:nvSpPr>
          <p:spPr>
            <a:xfrm rot="5400000">
              <a:off x="316365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Oval 29"/>
            <p:cNvSpPr/>
            <p:nvPr/>
          </p:nvSpPr>
          <p:spPr>
            <a:xfrm rot="5400000">
              <a:off x="346092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Oval 30"/>
            <p:cNvSpPr/>
            <p:nvPr/>
          </p:nvSpPr>
          <p:spPr>
            <a:xfrm rot="5400000">
              <a:off x="374899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/>
            <p:cNvSpPr/>
            <p:nvPr/>
          </p:nvSpPr>
          <p:spPr>
            <a:xfrm rot="5400000">
              <a:off x="374899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32"/>
            <p:cNvSpPr/>
            <p:nvPr/>
          </p:nvSpPr>
          <p:spPr>
            <a:xfrm rot="5400000">
              <a:off x="4048119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Oval 33"/>
            <p:cNvSpPr/>
            <p:nvPr/>
          </p:nvSpPr>
          <p:spPr>
            <a:xfrm rot="5400000">
              <a:off x="4048119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Oval 34"/>
            <p:cNvSpPr/>
            <p:nvPr/>
          </p:nvSpPr>
          <p:spPr>
            <a:xfrm rot="5400000">
              <a:off x="4346564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Oval 35"/>
            <p:cNvSpPr/>
            <p:nvPr/>
          </p:nvSpPr>
          <p:spPr>
            <a:xfrm rot="5400000">
              <a:off x="4346564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Oval 36"/>
            <p:cNvSpPr/>
            <p:nvPr/>
          </p:nvSpPr>
          <p:spPr>
            <a:xfrm rot="5400000">
              <a:off x="464100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Oval 37"/>
            <p:cNvSpPr/>
            <p:nvPr/>
          </p:nvSpPr>
          <p:spPr>
            <a:xfrm rot="5400000">
              <a:off x="4944825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Oval 38"/>
            <p:cNvSpPr/>
            <p:nvPr/>
          </p:nvSpPr>
          <p:spPr>
            <a:xfrm rot="5400000">
              <a:off x="494482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Oval 39"/>
            <p:cNvSpPr/>
            <p:nvPr/>
          </p:nvSpPr>
          <p:spPr>
            <a:xfrm rot="5400000">
              <a:off x="5242096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Oval 40"/>
            <p:cNvSpPr/>
            <p:nvPr/>
          </p:nvSpPr>
          <p:spPr>
            <a:xfrm rot="5400000">
              <a:off x="5535386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Oval 41"/>
            <p:cNvSpPr/>
            <p:nvPr/>
          </p:nvSpPr>
          <p:spPr>
            <a:xfrm rot="5400000">
              <a:off x="5535386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Oval 42"/>
            <p:cNvSpPr/>
            <p:nvPr/>
          </p:nvSpPr>
          <p:spPr>
            <a:xfrm rot="5400000">
              <a:off x="583701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Oval 43"/>
            <p:cNvSpPr/>
            <p:nvPr/>
          </p:nvSpPr>
          <p:spPr>
            <a:xfrm rot="5400000">
              <a:off x="5837011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Oval 44"/>
            <p:cNvSpPr/>
            <p:nvPr/>
          </p:nvSpPr>
          <p:spPr>
            <a:xfrm rot="5400000">
              <a:off x="613165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Oval 45"/>
            <p:cNvSpPr/>
            <p:nvPr/>
          </p:nvSpPr>
          <p:spPr>
            <a:xfrm rot="5400000">
              <a:off x="6131651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Oval 46"/>
            <p:cNvSpPr/>
            <p:nvPr/>
          </p:nvSpPr>
          <p:spPr>
            <a:xfrm rot="5400000">
              <a:off x="6428922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Oval 47"/>
            <p:cNvSpPr/>
            <p:nvPr/>
          </p:nvSpPr>
          <p:spPr>
            <a:xfrm rot="5400000">
              <a:off x="672397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Oval 48"/>
            <p:cNvSpPr/>
            <p:nvPr/>
          </p:nvSpPr>
          <p:spPr>
            <a:xfrm rot="5400000">
              <a:off x="672397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Oval 49"/>
            <p:cNvSpPr/>
            <p:nvPr/>
          </p:nvSpPr>
          <p:spPr>
            <a:xfrm rot="5400000">
              <a:off x="702242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Oval 50"/>
            <p:cNvSpPr/>
            <p:nvPr/>
          </p:nvSpPr>
          <p:spPr>
            <a:xfrm rot="5400000">
              <a:off x="702242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Oval 51"/>
            <p:cNvSpPr/>
            <p:nvPr/>
          </p:nvSpPr>
          <p:spPr>
            <a:xfrm rot="5400000">
              <a:off x="732086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Oval 52"/>
            <p:cNvSpPr/>
            <p:nvPr/>
          </p:nvSpPr>
          <p:spPr>
            <a:xfrm rot="5400000">
              <a:off x="7619994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Oval 53"/>
            <p:cNvSpPr/>
            <p:nvPr/>
          </p:nvSpPr>
          <p:spPr>
            <a:xfrm rot="5400000">
              <a:off x="7619994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Oval 54"/>
            <p:cNvSpPr/>
            <p:nvPr/>
          </p:nvSpPr>
          <p:spPr>
            <a:xfrm rot="5400000">
              <a:off x="7918439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Oval 55"/>
            <p:cNvSpPr/>
            <p:nvPr/>
          </p:nvSpPr>
          <p:spPr>
            <a:xfrm rot="5400000">
              <a:off x="7918439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Oval 56"/>
            <p:cNvSpPr/>
            <p:nvPr/>
          </p:nvSpPr>
          <p:spPr>
            <a:xfrm rot="5400000">
              <a:off x="821288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Oval 57"/>
            <p:cNvSpPr/>
            <p:nvPr/>
          </p:nvSpPr>
          <p:spPr>
            <a:xfrm rot="5400000">
              <a:off x="821288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Oval 58"/>
            <p:cNvSpPr/>
            <p:nvPr/>
          </p:nvSpPr>
          <p:spPr>
            <a:xfrm rot="5400000">
              <a:off x="851670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Oval 59"/>
            <p:cNvSpPr/>
            <p:nvPr/>
          </p:nvSpPr>
          <p:spPr>
            <a:xfrm rot="5400000">
              <a:off x="851670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Oval 60"/>
            <p:cNvSpPr/>
            <p:nvPr/>
          </p:nvSpPr>
          <p:spPr>
            <a:xfrm rot="5400000">
              <a:off x="881397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Oval 61"/>
            <p:cNvSpPr/>
            <p:nvPr/>
          </p:nvSpPr>
          <p:spPr>
            <a:xfrm rot="5400000">
              <a:off x="910204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Oval 62"/>
            <p:cNvSpPr/>
            <p:nvPr/>
          </p:nvSpPr>
          <p:spPr>
            <a:xfrm rot="5400000">
              <a:off x="910204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Oval 63"/>
            <p:cNvSpPr/>
            <p:nvPr/>
          </p:nvSpPr>
          <p:spPr>
            <a:xfrm rot="5400000">
              <a:off x="9401169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Oval 64"/>
            <p:cNvSpPr/>
            <p:nvPr/>
          </p:nvSpPr>
          <p:spPr>
            <a:xfrm rot="5400000">
              <a:off x="9401169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Oval 65"/>
            <p:cNvSpPr/>
            <p:nvPr/>
          </p:nvSpPr>
          <p:spPr>
            <a:xfrm rot="5400000">
              <a:off x="9699614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Oval 66"/>
            <p:cNvSpPr/>
            <p:nvPr/>
          </p:nvSpPr>
          <p:spPr>
            <a:xfrm rot="5400000">
              <a:off x="9699614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Oval 67"/>
            <p:cNvSpPr/>
            <p:nvPr/>
          </p:nvSpPr>
          <p:spPr>
            <a:xfrm rot="5400000">
              <a:off x="999405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Oval 68"/>
            <p:cNvSpPr/>
            <p:nvPr/>
          </p:nvSpPr>
          <p:spPr>
            <a:xfrm rot="5400000">
              <a:off x="10297875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Oval 69"/>
            <p:cNvSpPr/>
            <p:nvPr/>
          </p:nvSpPr>
          <p:spPr>
            <a:xfrm rot="5400000">
              <a:off x="1029787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Oval 70"/>
            <p:cNvSpPr/>
            <p:nvPr/>
          </p:nvSpPr>
          <p:spPr>
            <a:xfrm rot="5400000">
              <a:off x="10595146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Oval 71"/>
            <p:cNvSpPr/>
            <p:nvPr/>
          </p:nvSpPr>
          <p:spPr>
            <a:xfrm rot="5400000">
              <a:off x="10888318" y="877026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Oval 72"/>
            <p:cNvSpPr/>
            <p:nvPr userDrawn="1"/>
          </p:nvSpPr>
          <p:spPr>
            <a:xfrm rot="5400000">
              <a:off x="10888318" y="9067920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Oval 73"/>
            <p:cNvSpPr/>
            <p:nvPr/>
          </p:nvSpPr>
          <p:spPr>
            <a:xfrm rot="5400000">
              <a:off x="11189943" y="877026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Oval 75"/>
            <p:cNvSpPr/>
            <p:nvPr/>
          </p:nvSpPr>
          <p:spPr>
            <a:xfrm rot="5400000">
              <a:off x="11484583" y="787729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Oval 76"/>
            <p:cNvSpPr/>
            <p:nvPr userDrawn="1"/>
          </p:nvSpPr>
          <p:spPr>
            <a:xfrm rot="5400000">
              <a:off x="11484583" y="817495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Oval 77"/>
            <p:cNvSpPr/>
            <p:nvPr/>
          </p:nvSpPr>
          <p:spPr>
            <a:xfrm rot="5400000">
              <a:off x="11484583" y="877026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Oval 78"/>
            <p:cNvSpPr/>
            <p:nvPr/>
          </p:nvSpPr>
          <p:spPr>
            <a:xfrm rot="5400000">
              <a:off x="11781854" y="817495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1" name="Rectangle 80"/>
          <p:cNvSpPr/>
          <p:nvPr/>
        </p:nvSpPr>
        <p:spPr>
          <a:xfrm>
            <a:off x="3485781" y="800100"/>
            <a:ext cx="2574956" cy="525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/>
        </p:nvSpPr>
        <p:spPr>
          <a:xfrm>
            <a:off x="773727" y="800100"/>
            <a:ext cx="2574956" cy="525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Rectangle 90"/>
          <p:cNvSpPr/>
          <p:nvPr/>
        </p:nvSpPr>
        <p:spPr>
          <a:xfrm>
            <a:off x="6181893" y="800100"/>
            <a:ext cx="2574956" cy="5257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Picture Placeholder 94"/>
          <p:cNvSpPr>
            <a:spLocks noGrp="1"/>
          </p:cNvSpPr>
          <p:nvPr>
            <p:ph type="pic" sz="quarter" idx="10"/>
          </p:nvPr>
        </p:nvSpPr>
        <p:spPr>
          <a:xfrm>
            <a:off x="856548" y="1897062"/>
            <a:ext cx="2405005" cy="3063875"/>
          </a:xfrm>
        </p:spPr>
        <p:txBody>
          <a:bodyPr anchor="ctr"/>
          <a:lstStyle>
            <a:lvl1pPr marL="8890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9" name="Text Placeholder 97"/>
          <p:cNvSpPr>
            <a:spLocks noGrp="1"/>
          </p:cNvSpPr>
          <p:nvPr>
            <p:ph type="body" sz="quarter" idx="11"/>
          </p:nvPr>
        </p:nvSpPr>
        <p:spPr>
          <a:xfrm>
            <a:off x="856548" y="982663"/>
            <a:ext cx="2405005" cy="712787"/>
          </a:xfr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endParaRPr lang="en-US"/>
          </a:p>
        </p:txBody>
      </p:sp>
      <p:sp>
        <p:nvSpPr>
          <p:cNvPr id="101" name="Text Placeholder 97"/>
          <p:cNvSpPr>
            <a:spLocks noGrp="1"/>
          </p:cNvSpPr>
          <p:nvPr>
            <p:ph type="body" sz="quarter" idx="12"/>
          </p:nvPr>
        </p:nvSpPr>
        <p:spPr>
          <a:xfrm>
            <a:off x="856548" y="5162550"/>
            <a:ext cx="2405005" cy="817426"/>
          </a:xfrm>
        </p:spPr>
        <p:txBody>
          <a:bodyPr anchor="b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300" kern="120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endParaRPr lang="en-US"/>
          </a:p>
        </p:txBody>
      </p:sp>
      <p:sp>
        <p:nvSpPr>
          <p:cNvPr id="102" name="Picture Placeholder 94"/>
          <p:cNvSpPr>
            <a:spLocks noGrp="1"/>
          </p:cNvSpPr>
          <p:nvPr>
            <p:ph type="pic" sz="quarter" idx="13"/>
          </p:nvPr>
        </p:nvSpPr>
        <p:spPr>
          <a:xfrm>
            <a:off x="3568107" y="1897062"/>
            <a:ext cx="2405005" cy="3063875"/>
          </a:xfrm>
        </p:spPr>
        <p:txBody>
          <a:bodyPr anchor="ctr"/>
          <a:lstStyle>
            <a:lvl1pPr marL="8890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03" name="Text Placeholder 97"/>
          <p:cNvSpPr>
            <a:spLocks noGrp="1"/>
          </p:cNvSpPr>
          <p:nvPr>
            <p:ph type="body" sz="quarter" idx="14"/>
          </p:nvPr>
        </p:nvSpPr>
        <p:spPr>
          <a:xfrm>
            <a:off x="3568107" y="982663"/>
            <a:ext cx="2405005" cy="712787"/>
          </a:xfr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endParaRPr lang="en-US"/>
          </a:p>
        </p:txBody>
      </p:sp>
      <p:sp>
        <p:nvSpPr>
          <p:cNvPr id="104" name="Text Placeholder 97"/>
          <p:cNvSpPr>
            <a:spLocks noGrp="1"/>
          </p:cNvSpPr>
          <p:nvPr>
            <p:ph type="body" sz="quarter" idx="15"/>
          </p:nvPr>
        </p:nvSpPr>
        <p:spPr>
          <a:xfrm>
            <a:off x="3568107" y="5162550"/>
            <a:ext cx="2405005" cy="817426"/>
          </a:xfrm>
        </p:spPr>
        <p:txBody>
          <a:bodyPr anchor="b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300" kern="120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endParaRPr lang="en-US"/>
          </a:p>
        </p:txBody>
      </p:sp>
      <p:sp>
        <p:nvSpPr>
          <p:cNvPr id="105" name="Picture Placeholder 94"/>
          <p:cNvSpPr>
            <a:spLocks noGrp="1"/>
          </p:cNvSpPr>
          <p:nvPr>
            <p:ph type="pic" sz="quarter" idx="16"/>
          </p:nvPr>
        </p:nvSpPr>
        <p:spPr>
          <a:xfrm>
            <a:off x="6261673" y="1897062"/>
            <a:ext cx="2405005" cy="3063875"/>
          </a:xfrm>
        </p:spPr>
        <p:txBody>
          <a:bodyPr anchor="ctr"/>
          <a:lstStyle>
            <a:lvl1pPr marL="8890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06" name="Text Placeholder 97"/>
          <p:cNvSpPr>
            <a:spLocks noGrp="1"/>
          </p:cNvSpPr>
          <p:nvPr>
            <p:ph type="body" sz="quarter" idx="17"/>
          </p:nvPr>
        </p:nvSpPr>
        <p:spPr>
          <a:xfrm>
            <a:off x="6269168" y="982663"/>
            <a:ext cx="2405005" cy="712787"/>
          </a:xfr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endParaRPr lang="en-US"/>
          </a:p>
        </p:txBody>
      </p:sp>
      <p:sp>
        <p:nvSpPr>
          <p:cNvPr id="107" name="Text Placeholder 97"/>
          <p:cNvSpPr>
            <a:spLocks noGrp="1"/>
          </p:cNvSpPr>
          <p:nvPr>
            <p:ph type="body" sz="quarter" idx="18"/>
          </p:nvPr>
        </p:nvSpPr>
        <p:spPr>
          <a:xfrm>
            <a:off x="6269168" y="5162550"/>
            <a:ext cx="2405005" cy="817426"/>
          </a:xfrm>
        </p:spPr>
        <p:txBody>
          <a:bodyPr anchor="b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300" kern="120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endParaRPr lang="en-US"/>
          </a:p>
        </p:txBody>
      </p:sp>
      <p:sp>
        <p:nvSpPr>
          <p:cNvPr id="92" name="Rectangle 91"/>
          <p:cNvSpPr/>
          <p:nvPr userDrawn="1"/>
        </p:nvSpPr>
        <p:spPr>
          <a:xfrm>
            <a:off x="8874897" y="800100"/>
            <a:ext cx="2574956" cy="5257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Picture Placeholder 94"/>
          <p:cNvSpPr>
            <a:spLocks noGrp="1"/>
          </p:cNvSpPr>
          <p:nvPr>
            <p:ph type="pic" sz="quarter" idx="19"/>
          </p:nvPr>
        </p:nvSpPr>
        <p:spPr>
          <a:xfrm>
            <a:off x="8954677" y="1897062"/>
            <a:ext cx="2405005" cy="3063875"/>
          </a:xfrm>
        </p:spPr>
        <p:txBody>
          <a:bodyPr anchor="ctr"/>
          <a:lstStyle>
            <a:lvl1pPr marL="8890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4" name="Text Placeholder 97"/>
          <p:cNvSpPr>
            <a:spLocks noGrp="1"/>
          </p:cNvSpPr>
          <p:nvPr>
            <p:ph type="body" sz="quarter" idx="20"/>
          </p:nvPr>
        </p:nvSpPr>
        <p:spPr>
          <a:xfrm>
            <a:off x="8962172" y="982663"/>
            <a:ext cx="2405005" cy="712787"/>
          </a:xfr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endParaRPr lang="en-US"/>
          </a:p>
        </p:txBody>
      </p:sp>
      <p:sp>
        <p:nvSpPr>
          <p:cNvPr id="95" name="Text Placeholder 97"/>
          <p:cNvSpPr>
            <a:spLocks noGrp="1"/>
          </p:cNvSpPr>
          <p:nvPr>
            <p:ph type="body" sz="quarter" idx="21"/>
          </p:nvPr>
        </p:nvSpPr>
        <p:spPr>
          <a:xfrm>
            <a:off x="8962172" y="5162550"/>
            <a:ext cx="2405005" cy="817426"/>
          </a:xfrm>
        </p:spPr>
        <p:txBody>
          <a:bodyPr anchor="b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300" kern="120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endParaRPr lang="en-US"/>
          </a:p>
        </p:txBody>
      </p:sp>
      <p:sp>
        <p:nvSpPr>
          <p:cNvPr id="97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98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8252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66762" y="766119"/>
            <a:ext cx="10658475" cy="5563443"/>
          </a:xfr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80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82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66762" y="80953"/>
            <a:ext cx="10658475" cy="571500"/>
          </a:xfrm>
        </p:spPr>
        <p:txBody>
          <a:bodyPr>
            <a:normAutofit/>
          </a:bodyPr>
          <a:lstStyle>
            <a:lvl1pPr marL="88900" indent="0">
              <a:buNone/>
              <a:defRPr lang="en-US" sz="3600" b="1" kern="1200" baseline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and add content title</a:t>
            </a:r>
          </a:p>
        </p:txBody>
      </p:sp>
    </p:spTree>
    <p:extLst>
      <p:ext uri="{BB962C8B-B14F-4D97-AF65-F5344CB8AC3E}">
        <p14:creationId xmlns:p14="http://schemas.microsoft.com/office/powerpoint/2010/main" val="630793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 title="AlexandriaReference"/>
          <p:cNvSpPr txBox="1"/>
          <p:nvPr userDrawn="1"/>
        </p:nvSpPr>
        <p:spPr>
          <a:xfrm>
            <a:off x="1117063" y="6443533"/>
            <a:ext cx="1440000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kumimoji="0" lang="en-US" sz="800" b="0" i="1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&lt;generated automatically&gt;</a:t>
            </a:r>
            <a:endParaRPr kumimoji="0" lang="nl-BE" sz="8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Box 7" title="AlexandriaDistributionLimitations"/>
          <p:cNvSpPr txBox="1"/>
          <p:nvPr userDrawn="1"/>
        </p:nvSpPr>
        <p:spPr>
          <a:xfrm>
            <a:off x="10155691" y="6587241"/>
            <a:ext cx="1660707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kumimoji="0" lang="fr-FR" sz="800" b="0" i="1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ISC: Restricted</a:t>
            </a:r>
            <a:endParaRPr kumimoji="0" lang="fr-FR" sz="8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extBox 8" title="AlexandriaAlternativeReference"/>
          <p:cNvSpPr txBox="1"/>
          <p:nvPr userDrawn="1"/>
        </p:nvSpPr>
        <p:spPr>
          <a:xfrm>
            <a:off x="1117063" y="6587241"/>
            <a:ext cx="1440000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kumimoji="0" lang="en-US" sz="800" b="0" i="1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altenative reference</a:t>
            </a:r>
            <a:endParaRPr kumimoji="0" lang="nl-BE" sz="8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14317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11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17063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36209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EDE2AA-5EC7-4E82-852A-FE7B05022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198" y="224862"/>
            <a:ext cx="11635200" cy="4386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3600"/>
            </a:lvl1pPr>
          </a:lstStyle>
          <a:p>
            <a:endParaRPr lang="en-BE" dirty="0"/>
          </a:p>
        </p:txBody>
      </p:sp>
      <p:sp>
        <p:nvSpPr>
          <p:cNvPr id="81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181198" y="834919"/>
            <a:ext cx="11635200" cy="5018382"/>
          </a:xfrm>
        </p:spPr>
        <p:txBody>
          <a:bodyPr/>
          <a:lstStyle>
            <a:lvl3pPr marL="990600" indent="-266700">
              <a:buFont typeface="Courier New" panose="02070309020205020404" pitchFamily="49" charset="0"/>
              <a:buChar char="o"/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7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487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F8EDE2AA-5EC7-4E82-852A-FE7B05022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198" y="174032"/>
            <a:ext cx="11635200" cy="52507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3600"/>
            </a:lvl1pPr>
          </a:lstStyle>
          <a:p>
            <a:endParaRPr lang="en-BE" dirty="0"/>
          </a:p>
        </p:txBody>
      </p:sp>
      <p:sp>
        <p:nvSpPr>
          <p:cNvPr id="8" name="Tijdelijke aanduiding voor tekst 8">
            <a:extLst>
              <a:ext uri="{FF2B5EF4-FFF2-40B4-BE49-F238E27FC236}">
                <a16:creationId xmlns:a16="http://schemas.microsoft.com/office/drawing/2014/main" id="{013F778B-D9C1-4802-970E-A23E39CC2A9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1198" y="838842"/>
            <a:ext cx="11635200" cy="72510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2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nl-NL" dirty="0"/>
          </a:p>
        </p:txBody>
      </p:sp>
      <p:sp>
        <p:nvSpPr>
          <p:cNvPr id="8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81198" y="1703679"/>
            <a:ext cx="11635200" cy="4478169"/>
          </a:xfrm>
        </p:spPr>
        <p:txBody>
          <a:bodyPr/>
          <a:lstStyle>
            <a:lvl1pPr>
              <a:defRPr/>
            </a:lvl1pPr>
            <a:lvl3pPr marL="990600" indent="-266700">
              <a:buFont typeface="Courier New" panose="02070309020205020404" pitchFamily="49" charset="0"/>
              <a:buChar char="o"/>
              <a:defRPr/>
            </a:lvl3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6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87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739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82868" y="803645"/>
            <a:ext cx="11633530" cy="5563443"/>
          </a:xfrm>
        </p:spPr>
        <p:txBody>
          <a:bodyPr/>
          <a:lstStyle>
            <a:lvl1pPr>
              <a:defRPr baseline="0"/>
            </a:lvl1pPr>
            <a:lvl2pPr>
              <a:defRPr/>
            </a:lvl2pPr>
            <a:lvl3pPr marL="1066800" indent="-342900">
              <a:buFont typeface="Courier New" panose="02070309020205020404" pitchFamily="49" charset="0"/>
              <a:buChar char="o"/>
              <a:defRPr/>
            </a:lvl3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2"/>
            <a:endParaRPr lang="en-US" dirty="0"/>
          </a:p>
        </p:txBody>
      </p:sp>
      <p:sp>
        <p:nvSpPr>
          <p:cNvPr id="80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82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182868" y="119568"/>
            <a:ext cx="11633530" cy="571500"/>
          </a:xfrm>
        </p:spPr>
        <p:txBody>
          <a:bodyPr>
            <a:normAutofit/>
          </a:bodyPr>
          <a:lstStyle>
            <a:lvl1pPr marL="88900" indent="0">
              <a:buNone/>
              <a:defRPr lang="en-US" sz="3600" b="1" kern="1200" baseline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and add content title</a:t>
            </a:r>
          </a:p>
        </p:txBody>
      </p:sp>
    </p:spTree>
    <p:extLst>
      <p:ext uri="{BB962C8B-B14F-4D97-AF65-F5344CB8AC3E}">
        <p14:creationId xmlns:p14="http://schemas.microsoft.com/office/powerpoint/2010/main" val="1803380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EDE2AA-5EC7-4E82-852A-FE7B05022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198" y="190500"/>
            <a:ext cx="11635200" cy="7112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/>
            </a:lvl1pPr>
          </a:lstStyle>
          <a:p>
            <a:endParaRPr lang="en-BE" dirty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C77A671E-B4FD-4971-A22F-87DB01A11F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44360" y="1029254"/>
            <a:ext cx="4872038" cy="698501"/>
          </a:xfrm>
          <a:prstGeom prst="rect">
            <a:avLst/>
          </a:prstGeom>
        </p:spPr>
        <p:txBody>
          <a:bodyPr lIns="0" tIns="0" rIns="0" bIns="91440">
            <a:normAutofit/>
          </a:bodyPr>
          <a:lstStyle>
            <a:lvl1pPr marL="0" indent="0">
              <a:buFontTx/>
              <a:buNone/>
              <a:defRPr sz="2800" b="0">
                <a:solidFill>
                  <a:schemeClr val="accent1"/>
                </a:solidFill>
                <a:latin typeface="Georgia" panose="02040502050405020303" pitchFamily="18" charset="0"/>
                <a:cs typeface="Segoe UI Semibold" panose="020B0702040204020203" pitchFamily="34" charset="0"/>
              </a:defRPr>
            </a:lvl1pPr>
          </a:lstStyle>
          <a:p>
            <a:pPr lvl="0"/>
            <a:endParaRPr lang="nl-NL" dirty="0"/>
          </a:p>
        </p:txBody>
      </p:sp>
      <p:sp>
        <p:nvSpPr>
          <p:cNvPr id="8" name="Tijdelijke aanduiding voor grafiek 7">
            <a:extLst>
              <a:ext uri="{FF2B5EF4-FFF2-40B4-BE49-F238E27FC236}">
                <a16:creationId xmlns:a16="http://schemas.microsoft.com/office/drawing/2014/main" id="{785BDB02-0669-46C1-BC18-4B6915F659E2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181198" y="1086761"/>
            <a:ext cx="4872037" cy="498698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800" b="0"/>
            </a:lvl1pPr>
          </a:lstStyle>
          <a:p>
            <a:endParaRPr lang="en-BE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6944360" y="1855308"/>
            <a:ext cx="4872037" cy="4218434"/>
          </a:xfrm>
        </p:spPr>
        <p:txBody>
          <a:bodyPr/>
          <a:lstStyle>
            <a:lvl3pPr marL="990600" indent="-266700">
              <a:buFont typeface="Courier New" panose="02070309020205020404" pitchFamily="49" charset="0"/>
              <a:buChar char="o"/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13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0906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4128">
          <p15:clr>
            <a:srgbClr val="FBAE40"/>
          </p15:clr>
        </p15:guide>
        <p15:guide id="3" pos="355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ing slide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E2D5FF81-71AA-4A77-BAFA-7D04F841B0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10137" y="1154126"/>
            <a:ext cx="1470223" cy="14716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300"/>
              </a:spcBef>
              <a:buFontTx/>
              <a:buNone/>
              <a:defRPr sz="1100"/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8" name="Tijdelijke aanduiding voor afbeelding 3">
            <a:extLst>
              <a:ext uri="{FF2B5EF4-FFF2-40B4-BE49-F238E27FC236}">
                <a16:creationId xmlns:a16="http://schemas.microsoft.com/office/drawing/2014/main" id="{09AA0D7A-FE33-4F8C-9C9B-2DF71EA202B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978940" y="1143061"/>
            <a:ext cx="1517650" cy="14716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300"/>
              </a:spcBef>
              <a:buFontTx/>
              <a:buNone/>
              <a:defRPr sz="1100"/>
            </a:lvl1pPr>
          </a:lstStyle>
          <a:p>
            <a:r>
              <a:rPr lang="en-US"/>
              <a:t>add icon</a:t>
            </a:r>
            <a:endParaRPr lang="en-BE" dirty="0"/>
          </a:p>
        </p:txBody>
      </p:sp>
      <p:sp>
        <p:nvSpPr>
          <p:cNvPr id="10" name="Tijdelijke aanduiding voor tekst 9">
            <a:extLst>
              <a:ext uri="{FF2B5EF4-FFF2-40B4-BE49-F238E27FC236}">
                <a16:creationId xmlns:a16="http://schemas.microsoft.com/office/drawing/2014/main" id="{2F64FA00-F52F-4F8C-9ED0-8C00855A7D4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54192" y="1153090"/>
            <a:ext cx="3333623" cy="1471612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buFontTx/>
              <a:buNone/>
              <a:defRPr sz="280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endParaRPr lang="nl-NL" dirty="0"/>
          </a:p>
        </p:txBody>
      </p:sp>
      <p:sp>
        <p:nvSpPr>
          <p:cNvPr id="12" name="Tijdelijke aanduiding voor tekst 9">
            <a:extLst>
              <a:ext uri="{FF2B5EF4-FFF2-40B4-BE49-F238E27FC236}">
                <a16:creationId xmlns:a16="http://schemas.microsoft.com/office/drawing/2014/main" id="{21D06019-3674-4CC0-8571-2CD83FD684E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581003" y="1140100"/>
            <a:ext cx="3269974" cy="1471612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buFontTx/>
              <a:buNone/>
              <a:defRPr sz="280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15777" y="122470"/>
            <a:ext cx="11635200" cy="88447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215778" y="2771882"/>
            <a:ext cx="4872037" cy="3286018"/>
          </a:xfrm>
        </p:spPr>
        <p:txBody>
          <a:bodyPr/>
          <a:lstStyle>
            <a:lvl3pPr marL="990600" indent="-266700">
              <a:buFont typeface="Courier New" panose="02070309020205020404" pitchFamily="49" charset="0"/>
              <a:buChar char="o"/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6978940" y="2771882"/>
            <a:ext cx="4872037" cy="3286018"/>
          </a:xfrm>
        </p:spPr>
        <p:txBody>
          <a:bodyPr/>
          <a:lstStyle>
            <a:lvl3pPr marL="990600" indent="-266700">
              <a:buFont typeface="Courier New" panose="02070309020205020404" pitchFamily="49" charset="0"/>
              <a:buChar char="o"/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0326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552">
          <p15:clr>
            <a:srgbClr val="FBAE40"/>
          </p15:clr>
        </p15:guide>
        <p15:guide id="3" pos="412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EDE2AA-5EC7-4E82-852A-FE7B05022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332" y="241300"/>
            <a:ext cx="5329237" cy="5588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/>
            </a:lvl1pPr>
          </a:lstStyle>
          <a:p>
            <a:endParaRPr lang="en-BE" dirty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C77A671E-B4FD-4971-A22F-87DB01A11F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92332" y="916805"/>
            <a:ext cx="5329237" cy="922958"/>
          </a:xfrm>
          <a:prstGeom prst="rect">
            <a:avLst/>
          </a:prstGeom>
        </p:spPr>
        <p:txBody>
          <a:bodyPr lIns="0" tIns="0" rIns="0" bIns="91440">
            <a:normAutofit/>
          </a:bodyPr>
          <a:lstStyle>
            <a:lvl1pPr marL="0" indent="0">
              <a:buFontTx/>
              <a:buNone/>
              <a:defRPr sz="2800" b="0">
                <a:solidFill>
                  <a:schemeClr val="accent1"/>
                </a:solidFill>
                <a:latin typeface="Georgia" panose="02040502050405020303" pitchFamily="18" charset="0"/>
                <a:cs typeface="Segoe UI Semibold" panose="020B0702040204020203" pitchFamily="34" charset="0"/>
              </a:defRPr>
            </a:lvl1pPr>
          </a:lstStyle>
          <a:p>
            <a:pPr lvl="0"/>
            <a:endParaRPr lang="nl-NL" dirty="0"/>
          </a:p>
        </p:txBody>
      </p:sp>
      <p:sp>
        <p:nvSpPr>
          <p:cNvPr id="8" name="Tijdelijke aanduiding voor grafiek 7">
            <a:extLst>
              <a:ext uri="{FF2B5EF4-FFF2-40B4-BE49-F238E27FC236}">
                <a16:creationId xmlns:a16="http://schemas.microsoft.com/office/drawing/2014/main" id="{785BDB02-0669-46C1-BC18-4B6915F659E2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084277" y="916805"/>
            <a:ext cx="4872038" cy="5257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800" b="0"/>
            </a:lvl1pPr>
          </a:lstStyle>
          <a:p>
            <a:endParaRPr lang="en-BE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192332" y="1956467"/>
            <a:ext cx="5329237" cy="4218137"/>
          </a:xfrm>
        </p:spPr>
        <p:txBody>
          <a:bodyPr/>
          <a:lstStyle>
            <a:lvl3pPr marL="990600" indent="-266700">
              <a:buFont typeface="Courier New" panose="02070309020205020404" pitchFamily="49" charset="0"/>
              <a:buChar char="o"/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12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9623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4128">
          <p15:clr>
            <a:srgbClr val="FBAE40"/>
          </p15:clr>
        </p15:guide>
        <p15:guide id="3" pos="355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EDE2AA-5EC7-4E82-852A-FE7B05022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4055" y="196204"/>
            <a:ext cx="5983288" cy="838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/>
            </a:lvl1pPr>
          </a:lstStyle>
          <a:p>
            <a:endParaRPr lang="en-BE" dirty="0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DA1F5B52-3085-476E-BB6D-6FEB75BDE4A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000875" y="0"/>
            <a:ext cx="5191125" cy="68580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endParaRPr lang="en-BE" dirty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3EC44366-3659-4A5F-8C4F-FE4BEEF7735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7068" y="1141138"/>
            <a:ext cx="6010275" cy="8473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2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177068" y="2103656"/>
            <a:ext cx="6010275" cy="4428711"/>
          </a:xfrm>
        </p:spPr>
        <p:txBody>
          <a:bodyPr/>
          <a:lstStyle>
            <a:lvl1pPr marL="355600" indent="-355600">
              <a:defRPr/>
            </a:lvl1pPr>
            <a:lvl2pPr marL="622300" indent="-266700">
              <a:defRPr/>
            </a:lvl2pPr>
            <a:lvl3pPr marL="990600" indent="-266700">
              <a:buFont typeface="Courier New" panose="02070309020205020404" pitchFamily="49" charset="0"/>
              <a:buChar char="o"/>
              <a:defRPr/>
            </a:lvl3pPr>
            <a:lvl4pPr marL="1524000" indent="-266700">
              <a:defRPr/>
            </a:lvl4pPr>
            <a:lvl5pPr marL="1968500" indent="-35560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46339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&amp;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afbeelding 3">
            <a:extLst>
              <a:ext uri="{FF2B5EF4-FFF2-40B4-BE49-F238E27FC236}">
                <a16:creationId xmlns:a16="http://schemas.microsoft.com/office/drawing/2014/main" id="{E2D5FF81-71AA-4A77-BAFA-7D04F841B0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067299" y="1905000"/>
            <a:ext cx="2160000" cy="1346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300"/>
              </a:spcBef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/>
              <a:t>add icon</a:t>
            </a:r>
          </a:p>
        </p:txBody>
      </p:sp>
      <p:sp>
        <p:nvSpPr>
          <p:cNvPr id="16" name="Tijdelijke aanduiding voor tekst 9">
            <a:extLst>
              <a:ext uri="{FF2B5EF4-FFF2-40B4-BE49-F238E27FC236}">
                <a16:creationId xmlns:a16="http://schemas.microsoft.com/office/drawing/2014/main" id="{2F64FA00-F52F-4F8C-9ED0-8C00855A7D4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66763" y="3647804"/>
            <a:ext cx="10661665" cy="2168795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ctr">
              <a:buFontTx/>
              <a:buNone/>
              <a:defRPr sz="360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7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967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0809" y="239149"/>
            <a:ext cx="10515600" cy="88447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0809" y="1372779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1" name="Afbeelding 13">
            <a:extLst>
              <a:ext uri="{FF2B5EF4-FFF2-40B4-BE49-F238E27FC236}">
                <a16:creationId xmlns:a16="http://schemas.microsoft.com/office/drawing/2014/main" id="{522606A1-5983-4956-9002-1FC101450FAF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321" y="6469091"/>
            <a:ext cx="733149" cy="167146"/>
          </a:xfrm>
          <a:prstGeom prst="rect">
            <a:avLst/>
          </a:prstGeom>
        </p:spPr>
      </p:pic>
      <p:sp>
        <p:nvSpPr>
          <p:cNvPr id="12" name="TextBox 11" title="AlexandriaReference"/>
          <p:cNvSpPr txBox="1"/>
          <p:nvPr userDrawn="1"/>
        </p:nvSpPr>
        <p:spPr>
          <a:xfrm>
            <a:off x="1117063" y="6443533"/>
            <a:ext cx="1440000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kumimoji="0" lang="en-US" sz="800" b="0" i="1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SCK CEN/82455530</a:t>
            </a:r>
            <a:endParaRPr kumimoji="0" lang="nl-BE" sz="8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TextBox 12" title="AlexandriaDistributionLimitations"/>
          <p:cNvSpPr txBox="1"/>
          <p:nvPr userDrawn="1"/>
        </p:nvSpPr>
        <p:spPr>
          <a:xfrm>
            <a:off x="10155691" y="6587241"/>
            <a:ext cx="1660707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kumimoji="0" lang="fr-FR" sz="800" b="0" i="1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ISC: Restricted</a:t>
            </a:r>
            <a:endParaRPr kumimoji="0" lang="fr-FR" sz="8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extBox 13" title="AlexandriaAlternativeReference"/>
          <p:cNvSpPr txBox="1"/>
          <p:nvPr userDrawn="1"/>
        </p:nvSpPr>
        <p:spPr>
          <a:xfrm>
            <a:off x="1117063" y="6587241"/>
            <a:ext cx="1440000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kumimoji="0" lang="en-150" sz="800" b="0" i="1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 </a:t>
            </a:r>
            <a:endParaRPr kumimoji="0" lang="nl-BE" sz="8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14317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16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17063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2264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94" r:id="rId2"/>
    <p:sldLayoutId id="2147483701" r:id="rId3"/>
    <p:sldLayoutId id="2147483669" r:id="rId4"/>
    <p:sldLayoutId id="2147483670" r:id="rId5"/>
    <p:sldLayoutId id="2147483668" r:id="rId6"/>
    <p:sldLayoutId id="2147483671" r:id="rId7"/>
    <p:sldLayoutId id="2147483667" r:id="rId8"/>
    <p:sldLayoutId id="2147483685" r:id="rId9"/>
    <p:sldLayoutId id="2147483697" r:id="rId10"/>
    <p:sldLayoutId id="2147483703" r:id="rId11"/>
    <p:sldLayoutId id="2147483704" r:id="rId12"/>
    <p:sldLayoutId id="2147483707" r:id="rId1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55600" indent="-2667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2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22300" indent="-2667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990600" indent="-266700" algn="l" defTabSz="914400" rtl="0" eaLnBrk="1" latinLnBrk="0" hangingPunct="1">
        <a:lnSpc>
          <a:spcPct val="10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276350" indent="-285750" algn="l" defTabSz="914400" rtl="0" eaLnBrk="1" latinLnBrk="0" hangingPunct="1">
        <a:lnSpc>
          <a:spcPct val="100000"/>
        </a:lnSpc>
        <a:spcBef>
          <a:spcPts val="500"/>
        </a:spcBef>
        <a:buClr>
          <a:schemeClr val="accent3"/>
        </a:buClr>
        <a:buFont typeface="Wingdings" panose="05000000000000000000" pitchFamily="2" charset="2"/>
        <a:buChar char="§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1612900" indent="-266700" algn="l" defTabSz="914400" rtl="0" eaLnBrk="1" latinLnBrk="0" hangingPunct="1">
        <a:lnSpc>
          <a:spcPct val="10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lang="en-US" sz="1800" kern="120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483">
          <p15:clr>
            <a:srgbClr val="F26B43"/>
          </p15:clr>
        </p15:guide>
        <p15:guide id="4" pos="7197">
          <p15:clr>
            <a:srgbClr val="F26B43"/>
          </p15:clr>
        </p15:guide>
        <p15:guide id="5" orient="horz" pos="504">
          <p15:clr>
            <a:srgbClr val="F26B43"/>
          </p15:clr>
        </p15:guide>
        <p15:guide id="6" orient="horz" pos="381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ALEXANDRIA INTEGRATION</a:t>
            </a:r>
            <a:br>
              <a:rPr lang="en-US" dirty="0"/>
            </a:br>
            <a:r>
              <a:rPr lang="en-US" dirty="0"/>
              <a:t>Do not delete this master!</a:t>
            </a:r>
            <a:endParaRPr lang="nl-BE" dirty="0"/>
          </a:p>
        </p:txBody>
      </p:sp>
      <p:sp>
        <p:nvSpPr>
          <p:cNvPr id="8" name="TextBox 7" title="AlexandriaReference"/>
          <p:cNvSpPr txBox="1"/>
          <p:nvPr userDrawn="1"/>
        </p:nvSpPr>
        <p:spPr>
          <a:xfrm>
            <a:off x="765544" y="1658678"/>
            <a:ext cx="1953600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kumimoji="0" lang="nl-BE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[Common </a:t>
            </a:r>
            <a:r>
              <a:rPr kumimoji="0" lang="nl-BE" sz="9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Attributes_Short</a:t>
            </a:r>
            <a:r>
              <a:rPr kumimoji="0" lang="nl-BE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 Reference]</a:t>
            </a:r>
          </a:p>
        </p:txBody>
      </p:sp>
      <p:sp>
        <p:nvSpPr>
          <p:cNvPr id="4" name="TextBox 3" title="AlexandriaSecurltyClearance"/>
          <p:cNvSpPr txBox="1"/>
          <p:nvPr userDrawn="1"/>
        </p:nvSpPr>
        <p:spPr>
          <a:xfrm>
            <a:off x="2719144" y="2575110"/>
            <a:ext cx="1953600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kumimoji="0" lang="nl-BE" sz="90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[Security Clearance]</a:t>
            </a:r>
          </a:p>
        </p:txBody>
      </p:sp>
      <p:sp>
        <p:nvSpPr>
          <p:cNvPr id="5" name="TextBox 4" title="AlexandriaDistributionLimitations"/>
          <p:cNvSpPr txBox="1"/>
          <p:nvPr userDrawn="1"/>
        </p:nvSpPr>
        <p:spPr>
          <a:xfrm>
            <a:off x="4672744" y="1658678"/>
            <a:ext cx="1953600" cy="5078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kumimoji="0" lang="nl-BE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ISC: [Common </a:t>
            </a:r>
            <a:r>
              <a:rPr kumimoji="0" lang="nl-BE" sz="9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Attributes_Information</a:t>
            </a:r>
            <a:r>
              <a:rPr kumimoji="0" lang="nl-BE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 Security </a:t>
            </a:r>
            <a:r>
              <a:rPr kumimoji="0" lang="nl-BE" sz="9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Classification</a:t>
            </a:r>
            <a:r>
              <a:rPr kumimoji="0" lang="nl-BE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]</a:t>
            </a:r>
          </a:p>
        </p:txBody>
      </p:sp>
      <p:sp>
        <p:nvSpPr>
          <p:cNvPr id="6" name="TextBox 5" title="AlexandriaEventAttributes"/>
          <p:cNvSpPr txBox="1"/>
          <p:nvPr userDrawn="1"/>
        </p:nvSpPr>
        <p:spPr>
          <a:xfrm>
            <a:off x="2464199" y="3013157"/>
            <a:ext cx="6190219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kumimoji="0" lang="nl-BE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[Event </a:t>
            </a:r>
            <a:r>
              <a:rPr kumimoji="0" lang="nl-BE" sz="9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Attributes_Event_Event</a:t>
            </a:r>
            <a:r>
              <a:rPr kumimoji="0" lang="nl-BE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 Name]</a:t>
            </a:r>
          </a:p>
        </p:txBody>
      </p:sp>
      <p:sp>
        <p:nvSpPr>
          <p:cNvPr id="9" name="TextBox 8" title="AlexandriaAlternativeReference"/>
          <p:cNvSpPr txBox="1"/>
          <p:nvPr userDrawn="1"/>
        </p:nvSpPr>
        <p:spPr>
          <a:xfrm>
            <a:off x="2464199" y="1661549"/>
            <a:ext cx="1953600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kumimoji="0" lang="nl-BE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[Common </a:t>
            </a:r>
            <a:r>
              <a:rPr kumimoji="0" lang="nl-BE" sz="9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Attributes_Alternative</a:t>
            </a:r>
            <a:r>
              <a:rPr kumimoji="0" lang="nl-BE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 Reference]</a:t>
            </a:r>
          </a:p>
        </p:txBody>
      </p:sp>
      <p:pic>
        <p:nvPicPr>
          <p:cNvPr id="10" name="Afbeelding 13">
            <a:extLst>
              <a:ext uri="{FF2B5EF4-FFF2-40B4-BE49-F238E27FC236}">
                <a16:creationId xmlns:a16="http://schemas.microsoft.com/office/drawing/2014/main" id="{522606A1-5983-4956-9002-1FC101450F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321" y="6469091"/>
            <a:ext cx="733149" cy="167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6537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rgbClr val="FF0000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8.jpg"/><Relationship Id="rId5" Type="http://schemas.openxmlformats.org/officeDocument/2006/relationships/image" Target="../media/image27.jpg"/><Relationship Id="rId4" Type="http://schemas.openxmlformats.org/officeDocument/2006/relationships/image" Target="../media/image2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90.png"/><Relationship Id="rId5" Type="http://schemas.openxmlformats.org/officeDocument/2006/relationships/image" Target="../media/image35.emf"/><Relationship Id="rId4" Type="http://schemas.openxmlformats.org/officeDocument/2006/relationships/image" Target="../media/image34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7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jp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41.emf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jpe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4.jpeg"/><Relationship Id="rId18" Type="http://schemas.openxmlformats.org/officeDocument/2006/relationships/image" Target="../media/image59.png"/><Relationship Id="rId26" Type="http://schemas.openxmlformats.org/officeDocument/2006/relationships/image" Target="../media/image67.png"/><Relationship Id="rId39" Type="http://schemas.openxmlformats.org/officeDocument/2006/relationships/image" Target="../media/image79.png"/><Relationship Id="rId21" Type="http://schemas.openxmlformats.org/officeDocument/2006/relationships/image" Target="../media/image62.png"/><Relationship Id="rId34" Type="http://schemas.openxmlformats.org/officeDocument/2006/relationships/image" Target="../media/image74.png"/><Relationship Id="rId42" Type="http://schemas.openxmlformats.org/officeDocument/2006/relationships/image" Target="../media/image82.png"/><Relationship Id="rId47" Type="http://schemas.openxmlformats.org/officeDocument/2006/relationships/image" Target="../media/image87.png"/><Relationship Id="rId50" Type="http://schemas.openxmlformats.org/officeDocument/2006/relationships/image" Target="../media/image90.png"/><Relationship Id="rId55" Type="http://schemas.openxmlformats.org/officeDocument/2006/relationships/image" Target="../media/image95.png"/><Relationship Id="rId7" Type="http://schemas.openxmlformats.org/officeDocument/2006/relationships/oleObject" Target="../embeddings/oleObject3.bin"/><Relationship Id="rId12" Type="http://schemas.openxmlformats.org/officeDocument/2006/relationships/image" Target="../media/image53.png"/><Relationship Id="rId17" Type="http://schemas.openxmlformats.org/officeDocument/2006/relationships/image" Target="../media/image58.png"/><Relationship Id="rId25" Type="http://schemas.openxmlformats.org/officeDocument/2006/relationships/image" Target="../media/image66.png"/><Relationship Id="rId33" Type="http://schemas.openxmlformats.org/officeDocument/2006/relationships/image" Target="../media/image73.png"/><Relationship Id="rId38" Type="http://schemas.openxmlformats.org/officeDocument/2006/relationships/image" Target="../media/image78.jpeg"/><Relationship Id="rId46" Type="http://schemas.openxmlformats.org/officeDocument/2006/relationships/image" Target="../media/image86.png"/><Relationship Id="rId2" Type="http://schemas.openxmlformats.org/officeDocument/2006/relationships/tags" Target="../tags/tag3.xml"/><Relationship Id="rId16" Type="http://schemas.openxmlformats.org/officeDocument/2006/relationships/image" Target="../media/image57.png"/><Relationship Id="rId20" Type="http://schemas.openxmlformats.org/officeDocument/2006/relationships/image" Target="../media/image61.png"/><Relationship Id="rId29" Type="http://schemas.openxmlformats.org/officeDocument/2006/relationships/hyperlink" Target="http://www.ciemat.es/portal.do" TargetMode="External"/><Relationship Id="rId41" Type="http://schemas.openxmlformats.org/officeDocument/2006/relationships/image" Target="../media/image81.png"/><Relationship Id="rId54" Type="http://schemas.openxmlformats.org/officeDocument/2006/relationships/image" Target="../media/image94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49.png"/><Relationship Id="rId11" Type="http://schemas.openxmlformats.org/officeDocument/2006/relationships/image" Target="../media/image52.png"/><Relationship Id="rId24" Type="http://schemas.openxmlformats.org/officeDocument/2006/relationships/image" Target="../media/image65.png"/><Relationship Id="rId32" Type="http://schemas.openxmlformats.org/officeDocument/2006/relationships/image" Target="../media/image72.jpeg"/><Relationship Id="rId37" Type="http://schemas.openxmlformats.org/officeDocument/2006/relationships/image" Target="../media/image77.png"/><Relationship Id="rId40" Type="http://schemas.openxmlformats.org/officeDocument/2006/relationships/image" Target="../media/image80.png"/><Relationship Id="rId45" Type="http://schemas.openxmlformats.org/officeDocument/2006/relationships/image" Target="../media/image85.png"/><Relationship Id="rId53" Type="http://schemas.openxmlformats.org/officeDocument/2006/relationships/image" Target="../media/image93.png"/><Relationship Id="rId58" Type="http://schemas.openxmlformats.org/officeDocument/2006/relationships/image" Target="../media/image98.png"/><Relationship Id="rId5" Type="http://schemas.openxmlformats.org/officeDocument/2006/relationships/image" Target="../media/image48.jpeg"/><Relationship Id="rId15" Type="http://schemas.openxmlformats.org/officeDocument/2006/relationships/image" Target="../media/image56.png"/><Relationship Id="rId23" Type="http://schemas.openxmlformats.org/officeDocument/2006/relationships/image" Target="../media/image64.png"/><Relationship Id="rId28" Type="http://schemas.openxmlformats.org/officeDocument/2006/relationships/image" Target="../media/image69.png"/><Relationship Id="rId36" Type="http://schemas.openxmlformats.org/officeDocument/2006/relationships/image" Target="../media/image76.png"/><Relationship Id="rId49" Type="http://schemas.openxmlformats.org/officeDocument/2006/relationships/image" Target="../media/image89.png"/><Relationship Id="rId57" Type="http://schemas.openxmlformats.org/officeDocument/2006/relationships/image" Target="../media/image97.png"/><Relationship Id="rId10" Type="http://schemas.openxmlformats.org/officeDocument/2006/relationships/image" Target="../media/image51.png"/><Relationship Id="rId19" Type="http://schemas.openxmlformats.org/officeDocument/2006/relationships/image" Target="../media/image60.png"/><Relationship Id="rId31" Type="http://schemas.openxmlformats.org/officeDocument/2006/relationships/image" Target="../media/image71.png"/><Relationship Id="rId44" Type="http://schemas.openxmlformats.org/officeDocument/2006/relationships/image" Target="../media/image84.png"/><Relationship Id="rId52" Type="http://schemas.openxmlformats.org/officeDocument/2006/relationships/image" Target="../media/image92.png"/><Relationship Id="rId4" Type="http://schemas.openxmlformats.org/officeDocument/2006/relationships/image" Target="../media/image47.jpg"/><Relationship Id="rId9" Type="http://schemas.openxmlformats.org/officeDocument/2006/relationships/image" Target="../media/image50.png"/><Relationship Id="rId14" Type="http://schemas.openxmlformats.org/officeDocument/2006/relationships/image" Target="../media/image55.png"/><Relationship Id="rId22" Type="http://schemas.openxmlformats.org/officeDocument/2006/relationships/image" Target="../media/image63.png"/><Relationship Id="rId27" Type="http://schemas.openxmlformats.org/officeDocument/2006/relationships/image" Target="../media/image68.png"/><Relationship Id="rId30" Type="http://schemas.openxmlformats.org/officeDocument/2006/relationships/image" Target="../media/image70.png"/><Relationship Id="rId35" Type="http://schemas.openxmlformats.org/officeDocument/2006/relationships/image" Target="../media/image75.png"/><Relationship Id="rId43" Type="http://schemas.openxmlformats.org/officeDocument/2006/relationships/image" Target="../media/image83.png"/><Relationship Id="rId48" Type="http://schemas.openxmlformats.org/officeDocument/2006/relationships/image" Target="../media/image88.png"/><Relationship Id="rId56" Type="http://schemas.openxmlformats.org/officeDocument/2006/relationships/image" Target="../media/image96.png"/><Relationship Id="rId8" Type="http://schemas.openxmlformats.org/officeDocument/2006/relationships/image" Target="../media/image6.emf"/><Relationship Id="rId51" Type="http://schemas.openxmlformats.org/officeDocument/2006/relationships/image" Target="../media/image91.png"/><Relationship Id="rId3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png"/><Relationship Id="rId13" Type="http://schemas.openxmlformats.org/officeDocument/2006/relationships/image" Target="../media/image106.jpeg"/><Relationship Id="rId18" Type="http://schemas.openxmlformats.org/officeDocument/2006/relationships/image" Target="../media/image111.png"/><Relationship Id="rId3" Type="http://schemas.openxmlformats.org/officeDocument/2006/relationships/slideLayout" Target="../slideLayouts/slideLayout11.xml"/><Relationship Id="rId21" Type="http://schemas.openxmlformats.org/officeDocument/2006/relationships/image" Target="../media/image114.png"/><Relationship Id="rId7" Type="http://schemas.openxmlformats.org/officeDocument/2006/relationships/image" Target="../media/image100.jpeg"/><Relationship Id="rId12" Type="http://schemas.openxmlformats.org/officeDocument/2006/relationships/image" Target="../media/image105.png"/><Relationship Id="rId17" Type="http://schemas.openxmlformats.org/officeDocument/2006/relationships/image" Target="../media/image110.png"/><Relationship Id="rId2" Type="http://schemas.openxmlformats.org/officeDocument/2006/relationships/tags" Target="../tags/tag4.xml"/><Relationship Id="rId16" Type="http://schemas.openxmlformats.org/officeDocument/2006/relationships/image" Target="../media/image109.png"/><Relationship Id="rId20" Type="http://schemas.openxmlformats.org/officeDocument/2006/relationships/image" Target="../media/image113.jpg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11" Type="http://schemas.openxmlformats.org/officeDocument/2006/relationships/image" Target="../media/image104.pn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108.png"/><Relationship Id="rId23" Type="http://schemas.openxmlformats.org/officeDocument/2006/relationships/image" Target="../media/image116.png"/><Relationship Id="rId10" Type="http://schemas.openxmlformats.org/officeDocument/2006/relationships/image" Target="../media/image103.png"/><Relationship Id="rId19" Type="http://schemas.openxmlformats.org/officeDocument/2006/relationships/image" Target="../media/image112.png"/><Relationship Id="rId4" Type="http://schemas.openxmlformats.org/officeDocument/2006/relationships/image" Target="../media/image99.jpg"/><Relationship Id="rId9" Type="http://schemas.openxmlformats.org/officeDocument/2006/relationships/image" Target="../media/image102.jpeg"/><Relationship Id="rId14" Type="http://schemas.openxmlformats.org/officeDocument/2006/relationships/image" Target="../media/image107.png"/><Relationship Id="rId22" Type="http://schemas.openxmlformats.org/officeDocument/2006/relationships/image" Target="../media/image11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jpg"/><Relationship Id="rId2" Type="http://schemas.openxmlformats.org/officeDocument/2006/relationships/image" Target="../media/image117.jpe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0.jpeg"/><Relationship Id="rId4" Type="http://schemas.openxmlformats.org/officeDocument/2006/relationships/image" Target="../media/image11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1.png"/><Relationship Id="rId4" Type="http://schemas.openxmlformats.org/officeDocument/2006/relationships/image" Target="../media/image10.jpg"/></Relationships>
</file>

<file path=ppt/slides/_rels/slide3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.svg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24749" y="2802205"/>
            <a:ext cx="4896685" cy="997196"/>
          </a:xfrm>
        </p:spPr>
        <p:txBody>
          <a:bodyPr/>
          <a:lstStyle/>
          <a:p>
            <a:r>
              <a:rPr lang="en-US" dirty="0"/>
              <a:t>MYRRHA and its driver accelerato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drian Fabich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19.03.2024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1558423-59FB-E30D-4C03-207FBC32CB0C}"/>
              </a:ext>
            </a:extLst>
          </p:cNvPr>
          <p:cNvGrpSpPr/>
          <p:nvPr/>
        </p:nvGrpSpPr>
        <p:grpSpPr>
          <a:xfrm>
            <a:off x="25400" y="38100"/>
            <a:ext cx="12192000" cy="6692900"/>
            <a:chOff x="0" y="-8467"/>
            <a:chExt cx="12192000" cy="6866467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CA646A80-1090-F94B-9018-1BC57E429AC8}"/>
                </a:ext>
              </a:extLst>
            </p:cNvPr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noFill/>
            <a:ln w="9525" cap="rnd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B5DE215-3E53-1451-8A4C-7110A3DE5C11}"/>
                </a:ext>
              </a:extLst>
            </p:cNvPr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noFill/>
            <a:ln w="9525" cap="rnd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/>
          </p:spPr>
        </p:cxnSp>
        <p:sp>
          <p:nvSpPr>
            <p:cNvPr id="20" name="Rectangle 23">
              <a:extLst>
                <a:ext uri="{FF2B5EF4-FFF2-40B4-BE49-F238E27FC236}">
                  <a16:creationId xmlns:a16="http://schemas.microsoft.com/office/drawing/2014/main" id="{9F9A0F5D-A0C2-3815-26A7-C866576A1A62}"/>
                </a:ext>
              </a:extLst>
            </p:cNvPr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rgbClr val="4A66AC">
                <a:alpha val="30000"/>
              </a:srgbClr>
            </a:solidFill>
            <a:ln w="12700" cap="rnd" cmpd="sng" algn="ctr">
              <a:noFill/>
              <a:prstDash val="solid"/>
            </a:ln>
            <a:effectLst/>
          </p:spPr>
        </p:sp>
        <p:sp>
          <p:nvSpPr>
            <p:cNvPr id="21" name="Rectangle 25">
              <a:extLst>
                <a:ext uri="{FF2B5EF4-FFF2-40B4-BE49-F238E27FC236}">
                  <a16:creationId xmlns:a16="http://schemas.microsoft.com/office/drawing/2014/main" id="{0A246CF1-E5FE-8159-AA04-31BBD0288561}"/>
                </a:ext>
              </a:extLst>
            </p:cNvPr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A66AC">
                <a:alpha val="20000"/>
              </a:srgbClr>
            </a:solidFill>
            <a:ln w="12700" cap="rnd" cmpd="sng" algn="ctr">
              <a:noFill/>
              <a:prstDash val="solid"/>
            </a:ln>
            <a:effectLst/>
          </p:spPr>
        </p:sp>
        <p:sp>
          <p:nvSpPr>
            <p:cNvPr id="22" name="Isosceles Triangle 21">
              <a:extLst>
                <a:ext uri="{FF2B5EF4-FFF2-40B4-BE49-F238E27FC236}">
                  <a16:creationId xmlns:a16="http://schemas.microsoft.com/office/drawing/2014/main" id="{07DCB95A-3C54-5F52-721A-7591EE8FB0F8}"/>
                </a:ext>
              </a:extLst>
            </p:cNvPr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rgbClr val="629DD1">
                <a:alpha val="72000"/>
              </a:srgbClr>
            </a:solidFill>
            <a:ln w="12700" cap="rnd" cmpd="sng" algn="ctr">
              <a:noFill/>
              <a:prstDash val="solid"/>
            </a:ln>
            <a:effectLst/>
          </p:spPr>
        </p:sp>
        <p:sp>
          <p:nvSpPr>
            <p:cNvPr id="23" name="Rectangle 28">
              <a:extLst>
                <a:ext uri="{FF2B5EF4-FFF2-40B4-BE49-F238E27FC236}">
                  <a16:creationId xmlns:a16="http://schemas.microsoft.com/office/drawing/2014/main" id="{71FDD59A-4BE3-93BE-CE56-4D002622DEED}"/>
                </a:ext>
              </a:extLst>
            </p:cNvPr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rgbClr val="4A66AC">
                <a:lumMod val="60000"/>
                <a:lumOff val="40000"/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</p:sp>
        <p:sp>
          <p:nvSpPr>
            <p:cNvPr id="24" name="Isosceles Triangle 23">
              <a:extLst>
                <a:ext uri="{FF2B5EF4-FFF2-40B4-BE49-F238E27FC236}">
                  <a16:creationId xmlns:a16="http://schemas.microsoft.com/office/drawing/2014/main" id="{FE05E805-BB8A-0D47-CF5B-F937930A9B70}"/>
                </a:ext>
              </a:extLst>
            </p:cNvPr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rgbClr val="4A66AC">
                <a:alpha val="80000"/>
              </a:srgbClr>
            </a:solidFill>
            <a:ln w="12700" cap="rnd" cmpd="sng" algn="ctr">
              <a:noFill/>
              <a:prstDash val="solid"/>
            </a:ln>
            <a:effectLst/>
          </p:spPr>
        </p:sp>
        <p:sp>
          <p:nvSpPr>
            <p:cNvPr id="25" name="Isosceles Triangle 24">
              <a:extLst>
                <a:ext uri="{FF2B5EF4-FFF2-40B4-BE49-F238E27FC236}">
                  <a16:creationId xmlns:a16="http://schemas.microsoft.com/office/drawing/2014/main" id="{5F56716A-E825-146C-E593-7BBCBCEFFA0D}"/>
                </a:ext>
              </a:extLst>
            </p:cNvPr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rgbClr val="4A66AC">
                <a:alpha val="85000"/>
              </a:srgbClr>
            </a:solidFill>
            <a:ln w="12700" cap="rnd" cmpd="sng" algn="ctr">
              <a:noFill/>
              <a:prstDash val="solid"/>
            </a:ln>
            <a:effectLst/>
          </p:spPr>
        </p:sp>
      </p:grpSp>
      <p:pic>
        <p:nvPicPr>
          <p:cNvPr id="26" name="Picture 2" descr="image">
            <a:extLst>
              <a:ext uri="{FF2B5EF4-FFF2-40B4-BE49-F238E27FC236}">
                <a16:creationId xmlns:a16="http://schemas.microsoft.com/office/drawing/2014/main" id="{FA9ED5C2-76CA-B8A3-2EC2-6B14A08902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7034" y="5060616"/>
            <a:ext cx="1654138" cy="1653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F363A858-C750-5F6D-115D-FF1956C01EE0}"/>
              </a:ext>
            </a:extLst>
          </p:cNvPr>
          <p:cNvSpPr/>
          <p:nvPr/>
        </p:nvSpPr>
        <p:spPr>
          <a:xfrm>
            <a:off x="9359605" y="38100"/>
            <a:ext cx="2854326" cy="6692900"/>
          </a:xfrm>
          <a:custGeom>
            <a:avLst/>
            <a:gdLst/>
            <a:ahLst/>
            <a:cxnLst/>
            <a:rect l="l" t="t" r="r" b="b"/>
            <a:pathLst>
              <a:path w="2858013" h="6866467">
                <a:moveTo>
                  <a:pt x="0" y="0"/>
                </a:moveTo>
                <a:lnTo>
                  <a:pt x="2858013" y="0"/>
                </a:lnTo>
                <a:lnTo>
                  <a:pt x="2858013" y="6866467"/>
                </a:lnTo>
                <a:lnTo>
                  <a:pt x="2473942" y="6866467"/>
                </a:lnTo>
                <a:lnTo>
                  <a:pt x="0" y="0"/>
                </a:lnTo>
                <a:close/>
              </a:path>
            </a:pathLst>
          </a:custGeom>
          <a:solidFill>
            <a:srgbClr val="629DD1">
              <a:lumMod val="75000"/>
              <a:alpha val="70000"/>
            </a:srgbClr>
          </a:solidFill>
          <a:ln w="12700" cap="rnd" cmpd="sng" algn="ctr">
            <a:noFill/>
            <a:prstDash val="solid"/>
          </a:ln>
          <a:effectLst/>
        </p:spPr>
      </p:sp>
    </p:spTree>
    <p:extLst>
      <p:ext uri="{BB962C8B-B14F-4D97-AF65-F5344CB8AC3E}">
        <p14:creationId xmlns:p14="http://schemas.microsoft.com/office/powerpoint/2010/main" val="2875401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/>
          <a:srcRect l="9315" t="8545" r="41" b="4042"/>
          <a:stretch/>
        </p:blipFill>
        <p:spPr>
          <a:xfrm rot="5400000">
            <a:off x="-1361551" y="1361551"/>
            <a:ext cx="6851276" cy="4128174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814E660-BF25-4843-B2A0-93C6E2B6253B}" type="slidenum">
              <a:rPr lang="en-BE" smtClean="0"/>
              <a:pPr/>
              <a:t>10</a:t>
            </a:fld>
            <a:endParaRPr lang="en-BE" dirty="0"/>
          </a:p>
        </p:txBody>
      </p:sp>
      <p:sp>
        <p:nvSpPr>
          <p:cNvPr id="8" name="Rectangle 7"/>
          <p:cNvSpPr/>
          <p:nvPr/>
        </p:nvSpPr>
        <p:spPr>
          <a:xfrm>
            <a:off x="4309782" y="0"/>
            <a:ext cx="7882218" cy="6851276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4309782" y="-300214"/>
            <a:ext cx="7882218" cy="3740097"/>
          </a:xfrm>
          <a:prstGeom prst="rect">
            <a:avLst/>
          </a:prstGeom>
          <a:noFill/>
          <a:ln>
            <a:noFill/>
          </a:ln>
        </p:spPr>
        <p:txBody>
          <a:bodyPr wrap="square" lIns="107287" tIns="53643" rIns="107287" bIns="53643" rtlCol="0">
            <a:spAutoFit/>
          </a:bodyPr>
          <a:lstStyle/>
          <a:p>
            <a:pPr lvl="0" algn="ctr" defTabSz="1072866">
              <a:defRPr/>
            </a:pPr>
            <a:r>
              <a:rPr lang="en-US" sz="3200" b="1" dirty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  <a:latin typeface="Segoe UI"/>
              </a:rPr>
              <a:t> </a:t>
            </a:r>
          </a:p>
          <a:p>
            <a:pPr lvl="0" algn="ctr" defTabSz="1072866">
              <a:defRPr/>
            </a:pPr>
            <a:r>
              <a:rPr lang="en-US" sz="3600" b="1" i="1" dirty="0">
                <a:solidFill>
                  <a:sysClr val="windowText" lastClr="000000"/>
                </a:solidFill>
                <a:latin typeface="Segoe UI"/>
              </a:rPr>
              <a:t>MYRRHA</a:t>
            </a:r>
          </a:p>
          <a:p>
            <a:pPr lvl="0" algn="ctr" defTabSz="1072866">
              <a:defRPr/>
            </a:pPr>
            <a:endParaRPr lang="en-US" sz="1200" b="1" dirty="0">
              <a:solidFill>
                <a:sysClr val="windowText" lastClr="000000"/>
              </a:solidFill>
              <a:latin typeface="Segoe UI"/>
            </a:endParaRPr>
          </a:p>
          <a:p>
            <a:pPr algn="ctr" defTabSz="1072866">
              <a:defRPr/>
            </a:pPr>
            <a:r>
              <a:rPr lang="en-US" sz="2000" b="1" dirty="0">
                <a:solidFill>
                  <a:sysClr val="windowText" lastClr="000000"/>
                </a:solidFill>
              </a:rPr>
              <a:t>7 September 2018</a:t>
            </a:r>
          </a:p>
          <a:p>
            <a:pPr algn="ctr" defTabSz="1072866">
              <a:defRPr/>
            </a:pPr>
            <a:endParaRPr lang="en-US" b="1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latin typeface="Segoe UI"/>
            </a:endParaRPr>
          </a:p>
          <a:p>
            <a:pPr algn="ctr" defTabSz="1072866">
              <a:defRPr/>
            </a:pPr>
            <a:endParaRPr kumimoji="0" lang="en-US" b="1" i="0" u="none" strike="noStrike" kern="1200" cap="none" spc="0" normalizeH="0" baseline="0" noProof="0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algn="ctr" defTabSz="1072866">
              <a:defRPr/>
            </a:pPr>
            <a:endParaRPr kumimoji="0" lang="en-US" b="1" i="0" u="none" strike="noStrike" kern="1200" cap="none" spc="0" normalizeH="0" baseline="0" noProof="0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algn="ctr" defTabSz="1072866">
              <a:defRPr/>
            </a:pPr>
            <a:endParaRPr lang="en-US" sz="3200" b="1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latin typeface="Segoe UI"/>
            </a:endParaRPr>
          </a:p>
          <a:p>
            <a:pPr algn="ctr" defTabSz="1072866">
              <a:defRPr/>
            </a:pPr>
            <a:endParaRPr kumimoji="0" lang="en-US" sz="3200" b="1" i="0" u="none" strike="noStrike" kern="1200" cap="none" spc="0" normalizeH="0" baseline="0" noProof="0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algn="ctr" defTabSz="1072866">
              <a:defRPr/>
            </a:pPr>
            <a:r>
              <a:rPr kumimoji="0" lang="fr-FR" i="0" u="none" strike="noStrike" kern="1200" cap="none" spc="0" normalizeH="0" baseline="0" noProof="0" dirty="0">
                <a:solidFill>
                  <a:sysClr val="windowText" lastClr="000000"/>
                </a:solidFill>
                <a:effectLst/>
                <a:uLnTx/>
                <a:uFillTx/>
                <a:latin typeface="Georgia" panose="02040502050405020303" pitchFamily="18" charset="0"/>
              </a:rPr>
              <a:t>The </a:t>
            </a:r>
            <a:r>
              <a:rPr kumimoji="0" lang="fr-FR" b="1" i="0" u="none" strike="noStrike" kern="1200" cap="none" spc="0" normalizeH="0" baseline="0" noProof="0" dirty="0" err="1">
                <a:solidFill>
                  <a:sysClr val="windowText" lastClr="000000"/>
                </a:solidFill>
                <a:effectLst/>
                <a:uLnTx/>
                <a:uFillTx/>
                <a:latin typeface="Georgia" panose="02040502050405020303" pitchFamily="18" charset="0"/>
              </a:rPr>
              <a:t>Belgian</a:t>
            </a:r>
            <a:r>
              <a:rPr kumimoji="0" lang="fr-FR" b="1" i="0" u="none" strike="noStrike" kern="1200" cap="none" spc="0" normalizeH="0" baseline="0" noProof="0" dirty="0">
                <a:solidFill>
                  <a:sysClr val="windowText" lastClr="000000"/>
                </a:solidFill>
                <a:effectLst/>
                <a:uLnTx/>
                <a:uFillTx/>
                <a:latin typeface="Georgia" panose="02040502050405020303" pitchFamily="18" charset="0"/>
              </a:rPr>
              <a:t> </a:t>
            </a:r>
            <a:r>
              <a:rPr kumimoji="0" lang="fr-FR" b="1" i="0" u="none" strike="noStrike" kern="1200" cap="none" spc="0" normalizeH="0" baseline="0" noProof="0" dirty="0" err="1">
                <a:solidFill>
                  <a:sysClr val="windowText" lastClr="000000"/>
                </a:solidFill>
                <a:effectLst/>
                <a:uLnTx/>
                <a:uFillTx/>
                <a:latin typeface="Georgia" panose="02040502050405020303" pitchFamily="18" charset="0"/>
              </a:rPr>
              <a:t>Federal</a:t>
            </a:r>
            <a:r>
              <a:rPr kumimoji="0" lang="fr-FR" b="1" i="0" u="none" strike="noStrike" kern="1200" cap="none" spc="0" normalizeH="0" baseline="0" noProof="0" dirty="0">
                <a:solidFill>
                  <a:sysClr val="windowText" lastClr="000000"/>
                </a:solidFill>
                <a:effectLst/>
                <a:uLnTx/>
                <a:uFillTx/>
                <a:latin typeface="Georgia" panose="02040502050405020303" pitchFamily="18" charset="0"/>
              </a:rPr>
              <a:t> </a:t>
            </a:r>
            <a:r>
              <a:rPr kumimoji="0" lang="fr-FR" b="1" i="0" u="none" strike="noStrike" kern="1200" cap="none" spc="0" normalizeH="0" baseline="0" noProof="0" dirty="0" err="1">
                <a:solidFill>
                  <a:sysClr val="windowText" lastClr="000000"/>
                </a:solidFill>
                <a:effectLst/>
                <a:uLnTx/>
                <a:uFillTx/>
                <a:latin typeface="Georgia" panose="02040502050405020303" pitchFamily="18" charset="0"/>
              </a:rPr>
              <a:t>Government</a:t>
            </a:r>
            <a:r>
              <a:rPr kumimoji="0" lang="fr-FR" b="1" i="0" u="none" strike="noStrike" kern="1200" cap="none" spc="0" normalizeH="0" baseline="0" noProof="0" dirty="0">
                <a:solidFill>
                  <a:sysClr val="windowText" lastClr="000000"/>
                </a:solidFill>
                <a:effectLst/>
                <a:uLnTx/>
                <a:uFillTx/>
                <a:latin typeface="Georgia" panose="02040502050405020303" pitchFamily="18" charset="0"/>
              </a:rPr>
              <a:t> </a:t>
            </a:r>
            <a:r>
              <a:rPr kumimoji="0" lang="fr-FR" i="0" u="none" strike="noStrike" kern="1200" cap="none" spc="0" normalizeH="0" baseline="0" noProof="0" dirty="0" err="1">
                <a:solidFill>
                  <a:sysClr val="windowText" lastClr="000000"/>
                </a:solidFill>
                <a:effectLst/>
                <a:uLnTx/>
                <a:uFillTx/>
                <a:latin typeface="Georgia" panose="02040502050405020303" pitchFamily="18" charset="0"/>
              </a:rPr>
              <a:t>announce</a:t>
            </a:r>
            <a:r>
              <a:rPr kumimoji="0" lang="fr-FR" i="0" u="none" strike="noStrike" kern="1200" cap="none" spc="0" normalizeH="0" baseline="0" noProof="0" dirty="0">
                <a:solidFill>
                  <a:sysClr val="windowText" lastClr="000000"/>
                </a:solidFill>
                <a:effectLst/>
                <a:uLnTx/>
                <a:uFillTx/>
                <a:latin typeface="Georgia" panose="02040502050405020303" pitchFamily="18" charset="0"/>
              </a:rPr>
              <a:t> </a:t>
            </a:r>
            <a:r>
              <a:rPr kumimoji="0" lang="fr-FR" i="0" u="none" strike="noStrike" kern="1200" cap="none" spc="0" normalizeH="0" baseline="0" noProof="0" dirty="0" err="1">
                <a:solidFill>
                  <a:sysClr val="windowText" lastClr="000000"/>
                </a:solidFill>
                <a:effectLst/>
                <a:uLnTx/>
                <a:uFillTx/>
                <a:latin typeface="Georgia" panose="02040502050405020303" pitchFamily="18" charset="0"/>
              </a:rPr>
              <a:t>its</a:t>
            </a:r>
            <a:r>
              <a:rPr kumimoji="0" lang="fr-FR" i="0" u="none" strike="noStrike" kern="1200" cap="none" spc="0" normalizeH="0" baseline="0" noProof="0" dirty="0">
                <a:solidFill>
                  <a:sysClr val="windowText" lastClr="000000"/>
                </a:solidFill>
                <a:effectLst/>
                <a:uLnTx/>
                <a:uFillTx/>
                <a:latin typeface="Georgia" panose="02040502050405020303" pitchFamily="18" charset="0"/>
              </a:rPr>
              <a:t> </a:t>
            </a:r>
            <a:r>
              <a:rPr kumimoji="0" lang="fr-FR" b="1" i="0" u="none" strike="noStrike" kern="1200" cap="none" spc="0" normalizeH="0" baseline="0" noProof="0" dirty="0" err="1">
                <a:solidFill>
                  <a:sysClr val="windowText" lastClr="000000"/>
                </a:solidFill>
                <a:effectLst/>
                <a:uLnTx/>
                <a:uFillTx/>
                <a:latin typeface="Georgia" panose="02040502050405020303" pitchFamily="18" charset="0"/>
              </a:rPr>
              <a:t>decision</a:t>
            </a:r>
            <a:r>
              <a:rPr kumimoji="0" lang="fr-FR" b="1" i="0" u="none" strike="noStrike" kern="1200" cap="none" spc="0" normalizeH="0" baseline="0" noProof="0" dirty="0">
                <a:solidFill>
                  <a:sysClr val="windowText" lastClr="000000"/>
                </a:solidFill>
                <a:effectLst/>
                <a:uLnTx/>
                <a:uFillTx/>
                <a:latin typeface="Georgia" panose="02040502050405020303" pitchFamily="18" charset="0"/>
              </a:rPr>
              <a:t> to</a:t>
            </a:r>
            <a:r>
              <a:rPr kumimoji="0" lang="fr-FR" i="0" u="none" strike="noStrike" kern="1200" cap="none" spc="0" normalizeH="0" baseline="0" noProof="0" dirty="0">
                <a:solidFill>
                  <a:sysClr val="windowText" lastClr="000000"/>
                </a:solidFill>
                <a:effectLst/>
                <a:uLnTx/>
                <a:uFillTx/>
                <a:latin typeface="Georgia" panose="02040502050405020303" pitchFamily="18" charset="0"/>
              </a:rPr>
              <a:t>:</a:t>
            </a:r>
            <a:r>
              <a:rPr kumimoji="0" lang="fr-FR" i="0" u="none" strike="noStrike" kern="1200" cap="none" spc="0" normalizeH="0" noProof="0" dirty="0">
                <a:solidFill>
                  <a:sysClr val="windowText" lastClr="000000"/>
                </a:solidFill>
                <a:effectLst/>
                <a:uLnTx/>
                <a:uFillTx/>
                <a:latin typeface="Georgia" panose="02040502050405020303" pitchFamily="18" charset="0"/>
              </a:rPr>
              <a:t> </a:t>
            </a:r>
            <a:r>
              <a:rPr kumimoji="0" lang="fr-FR" i="0" u="none" strike="noStrike" kern="1200" cap="none" spc="0" normalizeH="0" baseline="0" noProof="0" dirty="0">
                <a:solidFill>
                  <a:sysClr val="windowText" lastClr="000000"/>
                </a:solidFill>
                <a:effectLst/>
                <a:uLnTx/>
                <a:uFillTx/>
                <a:latin typeface="Georgia" panose="02040502050405020303" pitchFamily="18" charset="0"/>
              </a:rPr>
              <a:t>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598900" y="3582978"/>
            <a:ext cx="7631206" cy="2909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107287" tIns="53643" rIns="107287" bIns="53643" rtlCol="0">
            <a:spAutoFit/>
          </a:bodyPr>
          <a:lstStyle/>
          <a:p>
            <a:pPr marL="457200" lvl="0" indent="-457200" defTabSz="1072866">
              <a:spcAft>
                <a:spcPts val="600"/>
              </a:spcAft>
              <a:buFont typeface="Courier New" panose="02070309020205020404" pitchFamily="49" charset="0"/>
              <a:buChar char="o"/>
              <a:defRPr/>
            </a:pPr>
            <a:r>
              <a:rPr lang="en-US" b="1" dirty="0">
                <a:solidFill>
                  <a:sysClr val="windowText" lastClr="000000"/>
                </a:solidFill>
                <a:latin typeface="Georgia" panose="02040502050405020303" pitchFamily="18" charset="0"/>
              </a:rPr>
              <a:t>Build MYRRHA</a:t>
            </a:r>
            <a:r>
              <a:rPr lang="en-US" dirty="0">
                <a:solidFill>
                  <a:sysClr val="windowText" lastClr="000000"/>
                </a:solidFill>
                <a:latin typeface="Georgia" panose="02040502050405020303" pitchFamily="18" charset="0"/>
              </a:rPr>
              <a:t>, a new large research infrastructure in </a:t>
            </a:r>
            <a:r>
              <a:rPr lang="en-US" dirty="0" err="1">
                <a:solidFill>
                  <a:sysClr val="windowText" lastClr="000000"/>
                </a:solidFill>
                <a:latin typeface="Georgia" panose="02040502050405020303" pitchFamily="18" charset="0"/>
              </a:rPr>
              <a:t>Mol</a:t>
            </a:r>
            <a:endParaRPr lang="en-US" dirty="0">
              <a:solidFill>
                <a:srgbClr val="00B050"/>
              </a:solidFill>
              <a:latin typeface="Georgia" panose="02040502050405020303" pitchFamily="18" charset="0"/>
            </a:endParaRPr>
          </a:p>
          <a:p>
            <a:pPr marL="457200" lvl="0" indent="-457200" defTabSz="1072866">
              <a:spcAft>
                <a:spcPts val="600"/>
              </a:spcAft>
              <a:buFont typeface="Courier New" panose="02070309020205020404" pitchFamily="49" charset="0"/>
              <a:buChar char="o"/>
              <a:defRPr/>
            </a:pPr>
            <a:r>
              <a:rPr lang="en-US" dirty="0">
                <a:solidFill>
                  <a:sysClr val="windowText" lastClr="000000"/>
                </a:solidFill>
                <a:latin typeface="Georgia" panose="02040502050405020303" pitchFamily="18" charset="0"/>
              </a:rPr>
              <a:t>Establish </a:t>
            </a:r>
            <a:r>
              <a:rPr lang="en-US" b="1" dirty="0">
                <a:solidFill>
                  <a:sysClr val="windowText" lastClr="000000"/>
                </a:solidFill>
                <a:latin typeface="Georgia" panose="02040502050405020303" pitchFamily="18" charset="0"/>
              </a:rPr>
              <a:t>governmental support </a:t>
            </a:r>
            <a:r>
              <a:rPr lang="en-US" dirty="0">
                <a:solidFill>
                  <a:sysClr val="windowText" lastClr="000000"/>
                </a:solidFill>
                <a:latin typeface="Georgia" panose="02040502050405020303" pitchFamily="18" charset="0"/>
              </a:rPr>
              <a:t>for promoting MYRRHA </a:t>
            </a:r>
            <a:r>
              <a:rPr lang="en-US" b="1" dirty="0">
                <a:solidFill>
                  <a:sysClr val="windowText" lastClr="000000"/>
                </a:solidFill>
                <a:latin typeface="Georgia" panose="02040502050405020303" pitchFamily="18" charset="0"/>
              </a:rPr>
              <a:t>international partnership</a:t>
            </a:r>
          </a:p>
          <a:p>
            <a:pPr marL="457200" lvl="0" indent="-457200" defTabSz="1072866">
              <a:spcAft>
                <a:spcPts val="600"/>
              </a:spcAft>
              <a:buFont typeface="Courier New" panose="02070309020205020404" pitchFamily="49" charset="0"/>
              <a:buChar char="o"/>
              <a:defRPr/>
            </a:pPr>
            <a:r>
              <a:rPr lang="en-US" dirty="0">
                <a:solidFill>
                  <a:sysClr val="windowText" lastClr="000000"/>
                </a:solidFill>
                <a:latin typeface="Georgia" panose="02040502050405020303" pitchFamily="18" charset="0"/>
              </a:rPr>
              <a:t>Establish the </a:t>
            </a:r>
            <a:r>
              <a:rPr lang="en-US" b="1" dirty="0">
                <a:solidFill>
                  <a:sysClr val="windowText" lastClr="000000"/>
                </a:solidFill>
                <a:latin typeface="Georgia" panose="02040502050405020303" pitchFamily="18" charset="0"/>
              </a:rPr>
              <a:t>MYRRHA international not-for-profit organization </a:t>
            </a:r>
            <a:r>
              <a:rPr lang="en-US" dirty="0">
                <a:solidFill>
                  <a:sysClr val="windowText" lastClr="000000"/>
                </a:solidFill>
                <a:latin typeface="Georgia" panose="02040502050405020303" pitchFamily="18" charset="0"/>
              </a:rPr>
              <a:t>(Founded in 2022)</a:t>
            </a:r>
          </a:p>
          <a:p>
            <a:pPr marL="742950" lvl="1" indent="-285750" defTabSz="1072866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ysClr val="windowText" lastClr="000000"/>
                </a:solidFill>
                <a:latin typeface="Georgia" panose="02040502050405020303" pitchFamily="18" charset="0"/>
              </a:rPr>
              <a:t>Responsible for construction, development and operation of MYRRHA infrastructure</a:t>
            </a:r>
          </a:p>
          <a:p>
            <a:pPr marL="742950" lvl="1" indent="-285750" defTabSz="1072866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ysClr val="windowText" lastClr="000000"/>
                </a:solidFill>
                <a:latin typeface="Georgia" panose="02040502050405020303" pitchFamily="18" charset="0"/>
              </a:rPr>
              <a:t>Legal entity to welcome international Countries and Organizations in MYRRHA Consortiums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0955" y="1336216"/>
            <a:ext cx="1839871" cy="1596837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4309782" y="-1"/>
            <a:ext cx="7882218" cy="6851277"/>
          </a:xfrm>
          <a:prstGeom prst="rect">
            <a:avLst/>
          </a:prstGeom>
          <a:noFill/>
          <a:ln>
            <a:solidFill>
              <a:srgbClr val="7888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4388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548" y="1897063"/>
            <a:ext cx="2405005" cy="3063874"/>
          </a:xfrm>
        </p:spPr>
      </p:pic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Less (toxic) nuclear was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773252" y="5162550"/>
            <a:ext cx="2577502" cy="817426"/>
          </a:xfrm>
        </p:spPr>
        <p:txBody>
          <a:bodyPr/>
          <a:lstStyle/>
          <a:p>
            <a:r>
              <a:rPr lang="en-US" dirty="0"/>
              <a:t>Transmutation reduces the final residual waste </a:t>
            </a:r>
            <a:r>
              <a:rPr lang="en-US" b="1" dirty="0"/>
              <a:t>volume</a:t>
            </a:r>
            <a:r>
              <a:rPr lang="en-US" dirty="0"/>
              <a:t> by a </a:t>
            </a:r>
            <a:r>
              <a:rPr lang="en-US" b="1" dirty="0"/>
              <a:t>factor 100 and natural radiation level</a:t>
            </a:r>
            <a:r>
              <a:rPr lang="en-US" dirty="0"/>
              <a:t> is reached after </a:t>
            </a:r>
            <a:r>
              <a:rPr lang="en-US" b="1" dirty="0"/>
              <a:t>300 year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76164" y="884897"/>
            <a:ext cx="2405005" cy="712787"/>
          </a:xfrm>
        </p:spPr>
        <p:txBody>
          <a:bodyPr/>
          <a:lstStyle/>
          <a:p>
            <a:r>
              <a:rPr lang="en-US" dirty="0"/>
              <a:t>Production of medical radio-isotop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herapeutic radio-isotopes can </a:t>
            </a:r>
            <a:r>
              <a:rPr lang="en-US" b="1" dirty="0"/>
              <a:t>fight cancer cells </a:t>
            </a:r>
            <a:r>
              <a:rPr lang="en-US" dirty="0"/>
              <a:t>in a more targeted way with significant </a:t>
            </a:r>
            <a:r>
              <a:rPr lang="en-US" b="1" dirty="0"/>
              <a:t>reduction of side effects for patient</a:t>
            </a:r>
          </a:p>
        </p:txBody>
      </p:sp>
      <p:pic>
        <p:nvPicPr>
          <p:cNvPr id="17" name="Picture Placeholder 16"/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36" b="7536"/>
          <a:stretch/>
        </p:blipFill>
        <p:spPr>
          <a:xfrm>
            <a:off x="8980433" y="1897062"/>
            <a:ext cx="2405005" cy="3063875"/>
          </a:xfrm>
        </p:spPr>
      </p:pic>
      <p:sp>
        <p:nvSpPr>
          <p:cNvPr id="10" name="Text Placeholder 9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New reactor concept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A wide range of material testing by </a:t>
            </a:r>
            <a:r>
              <a:rPr lang="en-US" b="1" dirty="0"/>
              <a:t>fast neutrons </a:t>
            </a:r>
            <a:r>
              <a:rPr lang="en-US" dirty="0"/>
              <a:t>for development of </a:t>
            </a:r>
            <a:r>
              <a:rPr lang="en-US" b="1" dirty="0"/>
              <a:t>fusion</a:t>
            </a:r>
            <a:r>
              <a:rPr lang="en-US" dirty="0"/>
              <a:t> </a:t>
            </a:r>
            <a:r>
              <a:rPr lang="en-US" b="1" dirty="0"/>
              <a:t>reactors</a:t>
            </a:r>
            <a:r>
              <a:rPr lang="en-US" dirty="0"/>
              <a:t> as well as used in current </a:t>
            </a:r>
            <a:r>
              <a:rPr lang="en-US" b="1" dirty="0"/>
              <a:t>fission reactors</a:t>
            </a:r>
          </a:p>
        </p:txBody>
      </p:sp>
      <p:pic>
        <p:nvPicPr>
          <p:cNvPr id="9" name="Picture Placeholder 8"/>
          <p:cNvPicPr>
            <a:picLocks noGrp="1" noChangeAspect="1"/>
          </p:cNvPicPr>
          <p:nvPr>
            <p:ph type="pic" sz="quarter" idx="19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34" r="23834"/>
          <a:stretch>
            <a:fillRect/>
          </a:stretch>
        </p:blipFill>
        <p:spPr>
          <a:xfrm>
            <a:off x="6269038" y="1897063"/>
            <a:ext cx="2405062" cy="3063875"/>
          </a:xfrm>
        </p:spPr>
      </p:pic>
      <p:sp>
        <p:nvSpPr>
          <p:cNvPr id="30" name="Text Placeholder 29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Fundamental research</a:t>
            </a: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21"/>
          </p:nvPr>
        </p:nvSpPr>
        <p:spPr>
          <a:xfrm>
            <a:off x="8872704" y="5200778"/>
            <a:ext cx="2620461" cy="817426"/>
          </a:xfrm>
        </p:spPr>
        <p:txBody>
          <a:bodyPr/>
          <a:lstStyle/>
          <a:p>
            <a:r>
              <a:rPr lang="en-US" dirty="0"/>
              <a:t>Deepening understandings in</a:t>
            </a:r>
            <a:r>
              <a:rPr lang="en-US" b="1" dirty="0"/>
              <a:t> Nuclear physics</a:t>
            </a:r>
            <a:r>
              <a:rPr lang="en-US" dirty="0"/>
              <a:t>, </a:t>
            </a:r>
            <a:r>
              <a:rPr lang="en-US" b="1" dirty="0"/>
              <a:t>atomic physics</a:t>
            </a:r>
            <a:r>
              <a:rPr lang="en-US" dirty="0"/>
              <a:t>, </a:t>
            </a:r>
            <a:r>
              <a:rPr lang="en-US" b="1" dirty="0"/>
              <a:t>fundamental interactions</a:t>
            </a:r>
            <a:r>
              <a:rPr lang="en-US" dirty="0"/>
              <a:t>, </a:t>
            </a:r>
            <a:r>
              <a:rPr lang="en-US" b="1" dirty="0"/>
              <a:t>solid state physics </a:t>
            </a:r>
            <a:r>
              <a:rPr lang="en-US" dirty="0"/>
              <a:t>&amp;</a:t>
            </a:r>
            <a:r>
              <a:rPr lang="en-US" b="1" dirty="0"/>
              <a:t> nuclear medicin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814E660-BF25-4843-B2A0-93C6E2B6253B}" type="slidenum">
              <a:rPr lang="en-BE" smtClean="0"/>
              <a:pPr/>
              <a:t>11</a:t>
            </a:fld>
            <a:endParaRPr lang="en-BE" dirty="0"/>
          </a:p>
        </p:txBody>
      </p:sp>
      <p:pic>
        <p:nvPicPr>
          <p:cNvPr id="6" name="Picture Placeholder 5"/>
          <p:cNvPicPr>
            <a:picLocks noGrp="1" noChangeAspect="1"/>
          </p:cNvPicPr>
          <p:nvPr>
            <p:ph type="pic" sz="quarter" idx="13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51" r="10751"/>
          <a:stretch>
            <a:fillRect/>
          </a:stretch>
        </p:blipFill>
        <p:spPr/>
      </p:pic>
      <p:sp>
        <p:nvSpPr>
          <p:cNvPr id="16" name="Title 3"/>
          <p:cNvSpPr txBox="1">
            <a:spLocks/>
          </p:cNvSpPr>
          <p:nvPr/>
        </p:nvSpPr>
        <p:spPr>
          <a:xfrm>
            <a:off x="778264" y="129790"/>
            <a:ext cx="10658475" cy="939491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200" dirty="0"/>
              <a:t>MYRRHA’s versatility</a:t>
            </a:r>
            <a:br>
              <a:rPr lang="en-US" sz="3200" dirty="0"/>
            </a:br>
            <a:r>
              <a:rPr lang="en-US" sz="2600" b="0" i="1" dirty="0"/>
              <a:t> </a:t>
            </a:r>
            <a:br>
              <a:rPr lang="en-US" sz="2600" b="0" i="1" dirty="0"/>
            </a:br>
            <a:endParaRPr lang="en-US" sz="2600" b="0" i="1" dirty="0"/>
          </a:p>
        </p:txBody>
      </p:sp>
    </p:spTree>
    <p:extLst>
      <p:ext uri="{BB962C8B-B14F-4D97-AF65-F5344CB8AC3E}">
        <p14:creationId xmlns:p14="http://schemas.microsoft.com/office/powerpoint/2010/main" val="4127810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6" name="Group 125"/>
          <p:cNvGrpSpPr/>
          <p:nvPr/>
        </p:nvGrpSpPr>
        <p:grpSpPr>
          <a:xfrm>
            <a:off x="584170" y="-274090"/>
            <a:ext cx="11689506" cy="6472862"/>
            <a:chOff x="526714" y="-280407"/>
            <a:chExt cx="11689506" cy="6472862"/>
          </a:xfrm>
        </p:grpSpPr>
        <p:pic>
          <p:nvPicPr>
            <p:cNvPr id="127" name="Picture 12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711768" y="-280407"/>
              <a:ext cx="11504452" cy="6472862"/>
            </a:xfrm>
            <a:prstGeom prst="rect">
              <a:avLst/>
            </a:prstGeom>
          </p:spPr>
        </p:pic>
        <p:grpSp>
          <p:nvGrpSpPr>
            <p:cNvPr id="128" name="Group 127"/>
            <p:cNvGrpSpPr/>
            <p:nvPr/>
          </p:nvGrpSpPr>
          <p:grpSpPr>
            <a:xfrm>
              <a:off x="526714" y="1255505"/>
              <a:ext cx="11587666" cy="4247320"/>
              <a:chOff x="526714" y="1255505"/>
              <a:chExt cx="11587666" cy="4247320"/>
            </a:xfrm>
          </p:grpSpPr>
          <p:pic>
            <p:nvPicPr>
              <p:cNvPr id="129" name="Picture 128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26714" y="2932452"/>
                <a:ext cx="2070100" cy="2570373"/>
              </a:xfrm>
              <a:prstGeom prst="rect">
                <a:avLst/>
              </a:prstGeom>
            </p:spPr>
          </p:pic>
          <p:grpSp>
            <p:nvGrpSpPr>
              <p:cNvPr id="130" name="Group 129"/>
              <p:cNvGrpSpPr/>
              <p:nvPr/>
            </p:nvGrpSpPr>
            <p:grpSpPr>
              <a:xfrm>
                <a:off x="2565390" y="1255505"/>
                <a:ext cx="9548990" cy="3117712"/>
                <a:chOff x="2565390" y="1255505"/>
                <a:chExt cx="9548990" cy="3117712"/>
              </a:xfrm>
            </p:grpSpPr>
            <p:sp>
              <p:nvSpPr>
                <p:cNvPr id="131" name="Rectangle 130"/>
                <p:cNvSpPr/>
                <p:nvPr/>
              </p:nvSpPr>
              <p:spPr>
                <a:xfrm>
                  <a:off x="2565390" y="3685998"/>
                  <a:ext cx="9548990" cy="6872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32" name="Rectangle 131"/>
                <p:cNvSpPr/>
                <p:nvPr/>
              </p:nvSpPr>
              <p:spPr>
                <a:xfrm>
                  <a:off x="3277553" y="1255505"/>
                  <a:ext cx="3163377" cy="1683037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33" name="Rectangle 132"/>
                <p:cNvSpPr/>
                <p:nvPr/>
              </p:nvSpPr>
              <p:spPr>
                <a:xfrm>
                  <a:off x="5955511" y="2671821"/>
                  <a:ext cx="112195" cy="671363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34" name="Rectangle 133"/>
                <p:cNvSpPr/>
                <p:nvPr/>
              </p:nvSpPr>
              <p:spPr>
                <a:xfrm>
                  <a:off x="6369330" y="2671821"/>
                  <a:ext cx="140799" cy="671363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35" name="Rectangle 134"/>
                <p:cNvSpPr/>
                <p:nvPr/>
              </p:nvSpPr>
              <p:spPr>
                <a:xfrm>
                  <a:off x="6863987" y="2474418"/>
                  <a:ext cx="793240" cy="47286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36" name="Rectangle 135"/>
                <p:cNvSpPr/>
                <p:nvPr/>
              </p:nvSpPr>
              <p:spPr>
                <a:xfrm>
                  <a:off x="6313740" y="2762545"/>
                  <a:ext cx="0" cy="193341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cxnSp>
              <p:nvCxnSpPr>
                <p:cNvPr id="137" name="Straight Connector 136"/>
                <p:cNvCxnSpPr/>
                <p:nvPr/>
              </p:nvCxnSpPr>
              <p:spPr>
                <a:xfrm flipH="1">
                  <a:off x="6359459" y="2969812"/>
                  <a:ext cx="150670" cy="0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138" name="Straight Connector 137"/>
                <p:cNvCxnSpPr/>
                <p:nvPr/>
              </p:nvCxnSpPr>
              <p:spPr>
                <a:xfrm flipH="1">
                  <a:off x="5955511" y="2969812"/>
                  <a:ext cx="150670" cy="0"/>
                </a:xfrm>
                <a:prstGeom prst="line">
                  <a:avLst/>
                </a:prstGeom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13" name="Group 12"/>
          <p:cNvGrpSpPr/>
          <p:nvPr/>
        </p:nvGrpSpPr>
        <p:grpSpPr>
          <a:xfrm>
            <a:off x="182337" y="5309722"/>
            <a:ext cx="11827325" cy="1418433"/>
            <a:chOff x="182336" y="7877294"/>
            <a:chExt cx="11827325" cy="1418433"/>
          </a:xfrm>
        </p:grpSpPr>
        <p:sp>
          <p:nvSpPr>
            <p:cNvPr id="14" name="Oval 13"/>
            <p:cNvSpPr/>
            <p:nvPr/>
          </p:nvSpPr>
          <p:spPr>
            <a:xfrm rot="5400000">
              <a:off x="182336" y="787729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14"/>
            <p:cNvSpPr/>
            <p:nvPr/>
          </p:nvSpPr>
          <p:spPr>
            <a:xfrm rot="5400000">
              <a:off x="182336" y="847260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Oval 15"/>
            <p:cNvSpPr/>
            <p:nvPr/>
          </p:nvSpPr>
          <p:spPr>
            <a:xfrm rot="5400000">
              <a:off x="182336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/>
            <p:cNvSpPr/>
            <p:nvPr/>
          </p:nvSpPr>
          <p:spPr>
            <a:xfrm rot="5400000">
              <a:off x="483961" y="8174950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Oval 17"/>
            <p:cNvSpPr/>
            <p:nvPr/>
          </p:nvSpPr>
          <p:spPr>
            <a:xfrm rot="5400000">
              <a:off x="483961" y="847260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18"/>
            <p:cNvSpPr/>
            <p:nvPr/>
          </p:nvSpPr>
          <p:spPr>
            <a:xfrm rot="5400000">
              <a:off x="48396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Oval 24"/>
            <p:cNvSpPr/>
            <p:nvPr/>
          </p:nvSpPr>
          <p:spPr>
            <a:xfrm rot="5400000">
              <a:off x="77860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Oval 25"/>
            <p:cNvSpPr/>
            <p:nvPr/>
          </p:nvSpPr>
          <p:spPr>
            <a:xfrm rot="5400000">
              <a:off x="137092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Oval 26"/>
            <p:cNvSpPr/>
            <p:nvPr/>
          </p:nvSpPr>
          <p:spPr>
            <a:xfrm rot="5400000">
              <a:off x="166937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Oval 27"/>
            <p:cNvSpPr/>
            <p:nvPr/>
          </p:nvSpPr>
          <p:spPr>
            <a:xfrm rot="5400000">
              <a:off x="2266944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Oval 28"/>
            <p:cNvSpPr/>
            <p:nvPr/>
          </p:nvSpPr>
          <p:spPr>
            <a:xfrm rot="5400000">
              <a:off x="2565389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Oval 29"/>
            <p:cNvSpPr/>
            <p:nvPr/>
          </p:nvSpPr>
          <p:spPr>
            <a:xfrm rot="5400000">
              <a:off x="2565389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Oval 30"/>
            <p:cNvSpPr/>
            <p:nvPr/>
          </p:nvSpPr>
          <p:spPr>
            <a:xfrm rot="5400000">
              <a:off x="285983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/>
            <p:cNvSpPr/>
            <p:nvPr/>
          </p:nvSpPr>
          <p:spPr>
            <a:xfrm rot="5400000">
              <a:off x="285983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32"/>
            <p:cNvSpPr/>
            <p:nvPr/>
          </p:nvSpPr>
          <p:spPr>
            <a:xfrm rot="5400000">
              <a:off x="316365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Oval 33"/>
            <p:cNvSpPr/>
            <p:nvPr/>
          </p:nvSpPr>
          <p:spPr>
            <a:xfrm rot="5400000">
              <a:off x="316365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Oval 34"/>
            <p:cNvSpPr/>
            <p:nvPr/>
          </p:nvSpPr>
          <p:spPr>
            <a:xfrm rot="5400000">
              <a:off x="346092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Oval 35"/>
            <p:cNvSpPr/>
            <p:nvPr/>
          </p:nvSpPr>
          <p:spPr>
            <a:xfrm rot="5400000">
              <a:off x="374899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Oval 36"/>
            <p:cNvSpPr/>
            <p:nvPr/>
          </p:nvSpPr>
          <p:spPr>
            <a:xfrm rot="5400000">
              <a:off x="374899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Oval 37"/>
            <p:cNvSpPr/>
            <p:nvPr/>
          </p:nvSpPr>
          <p:spPr>
            <a:xfrm rot="5400000">
              <a:off x="4048119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Oval 38"/>
            <p:cNvSpPr/>
            <p:nvPr/>
          </p:nvSpPr>
          <p:spPr>
            <a:xfrm rot="5400000">
              <a:off x="4048119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Oval 39"/>
            <p:cNvSpPr/>
            <p:nvPr/>
          </p:nvSpPr>
          <p:spPr>
            <a:xfrm rot="5400000">
              <a:off x="4346564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Oval 40"/>
            <p:cNvSpPr/>
            <p:nvPr/>
          </p:nvSpPr>
          <p:spPr>
            <a:xfrm rot="5400000">
              <a:off x="4346564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Oval 41"/>
            <p:cNvSpPr/>
            <p:nvPr/>
          </p:nvSpPr>
          <p:spPr>
            <a:xfrm rot="5400000">
              <a:off x="464100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Oval 42"/>
            <p:cNvSpPr/>
            <p:nvPr/>
          </p:nvSpPr>
          <p:spPr>
            <a:xfrm rot="5400000">
              <a:off x="4944825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Oval 43"/>
            <p:cNvSpPr/>
            <p:nvPr/>
          </p:nvSpPr>
          <p:spPr>
            <a:xfrm rot="5400000">
              <a:off x="494482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Oval 44"/>
            <p:cNvSpPr/>
            <p:nvPr/>
          </p:nvSpPr>
          <p:spPr>
            <a:xfrm rot="5400000">
              <a:off x="5242096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Oval 45"/>
            <p:cNvSpPr/>
            <p:nvPr/>
          </p:nvSpPr>
          <p:spPr>
            <a:xfrm rot="5400000">
              <a:off x="5535386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Oval 46"/>
            <p:cNvSpPr/>
            <p:nvPr/>
          </p:nvSpPr>
          <p:spPr>
            <a:xfrm rot="5400000">
              <a:off x="5535386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Oval 47"/>
            <p:cNvSpPr/>
            <p:nvPr/>
          </p:nvSpPr>
          <p:spPr>
            <a:xfrm rot="5400000">
              <a:off x="583701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Oval 48"/>
            <p:cNvSpPr/>
            <p:nvPr/>
          </p:nvSpPr>
          <p:spPr>
            <a:xfrm rot="5400000">
              <a:off x="5837011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Oval 49"/>
            <p:cNvSpPr/>
            <p:nvPr/>
          </p:nvSpPr>
          <p:spPr>
            <a:xfrm rot="5400000">
              <a:off x="613165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Oval 50"/>
            <p:cNvSpPr/>
            <p:nvPr/>
          </p:nvSpPr>
          <p:spPr>
            <a:xfrm rot="5400000">
              <a:off x="6131651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Oval 51"/>
            <p:cNvSpPr/>
            <p:nvPr/>
          </p:nvSpPr>
          <p:spPr>
            <a:xfrm rot="5400000">
              <a:off x="6428922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Oval 52"/>
            <p:cNvSpPr/>
            <p:nvPr/>
          </p:nvSpPr>
          <p:spPr>
            <a:xfrm rot="5400000">
              <a:off x="672397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Oval 53"/>
            <p:cNvSpPr/>
            <p:nvPr/>
          </p:nvSpPr>
          <p:spPr>
            <a:xfrm rot="5400000">
              <a:off x="672397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Oval 54"/>
            <p:cNvSpPr/>
            <p:nvPr/>
          </p:nvSpPr>
          <p:spPr>
            <a:xfrm rot="5400000">
              <a:off x="702242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Oval 55"/>
            <p:cNvSpPr/>
            <p:nvPr/>
          </p:nvSpPr>
          <p:spPr>
            <a:xfrm rot="5400000">
              <a:off x="702242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Oval 56"/>
            <p:cNvSpPr/>
            <p:nvPr/>
          </p:nvSpPr>
          <p:spPr>
            <a:xfrm rot="5400000">
              <a:off x="732086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Oval 57"/>
            <p:cNvSpPr/>
            <p:nvPr/>
          </p:nvSpPr>
          <p:spPr>
            <a:xfrm rot="5400000">
              <a:off x="7619994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Oval 58"/>
            <p:cNvSpPr/>
            <p:nvPr/>
          </p:nvSpPr>
          <p:spPr>
            <a:xfrm rot="5400000">
              <a:off x="7619994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Oval 59"/>
            <p:cNvSpPr/>
            <p:nvPr/>
          </p:nvSpPr>
          <p:spPr>
            <a:xfrm rot="5400000">
              <a:off x="7918439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Oval 60"/>
            <p:cNvSpPr/>
            <p:nvPr/>
          </p:nvSpPr>
          <p:spPr>
            <a:xfrm rot="5400000">
              <a:off x="7918439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Oval 61"/>
            <p:cNvSpPr/>
            <p:nvPr/>
          </p:nvSpPr>
          <p:spPr>
            <a:xfrm rot="5400000">
              <a:off x="821288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Oval 62"/>
            <p:cNvSpPr/>
            <p:nvPr/>
          </p:nvSpPr>
          <p:spPr>
            <a:xfrm rot="5400000">
              <a:off x="821288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Oval 63"/>
            <p:cNvSpPr/>
            <p:nvPr/>
          </p:nvSpPr>
          <p:spPr>
            <a:xfrm rot="5400000">
              <a:off x="851670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Oval 64"/>
            <p:cNvSpPr/>
            <p:nvPr/>
          </p:nvSpPr>
          <p:spPr>
            <a:xfrm rot="5400000">
              <a:off x="851670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Oval 65"/>
            <p:cNvSpPr/>
            <p:nvPr/>
          </p:nvSpPr>
          <p:spPr>
            <a:xfrm rot="5400000">
              <a:off x="881397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Oval 66"/>
            <p:cNvSpPr/>
            <p:nvPr/>
          </p:nvSpPr>
          <p:spPr>
            <a:xfrm rot="5400000">
              <a:off x="910204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Oval 67"/>
            <p:cNvSpPr/>
            <p:nvPr/>
          </p:nvSpPr>
          <p:spPr>
            <a:xfrm rot="5400000">
              <a:off x="910204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Oval 68"/>
            <p:cNvSpPr/>
            <p:nvPr/>
          </p:nvSpPr>
          <p:spPr>
            <a:xfrm rot="5400000">
              <a:off x="9401169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Oval 69"/>
            <p:cNvSpPr/>
            <p:nvPr/>
          </p:nvSpPr>
          <p:spPr>
            <a:xfrm rot="5400000">
              <a:off x="9401169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Oval 70"/>
            <p:cNvSpPr/>
            <p:nvPr/>
          </p:nvSpPr>
          <p:spPr>
            <a:xfrm rot="5400000">
              <a:off x="9699614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Oval 71"/>
            <p:cNvSpPr/>
            <p:nvPr/>
          </p:nvSpPr>
          <p:spPr>
            <a:xfrm rot="5400000">
              <a:off x="9699614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Oval 72"/>
            <p:cNvSpPr/>
            <p:nvPr/>
          </p:nvSpPr>
          <p:spPr>
            <a:xfrm rot="5400000">
              <a:off x="999405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Oval 73"/>
            <p:cNvSpPr/>
            <p:nvPr/>
          </p:nvSpPr>
          <p:spPr>
            <a:xfrm rot="5400000">
              <a:off x="10297875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Oval 74"/>
            <p:cNvSpPr/>
            <p:nvPr/>
          </p:nvSpPr>
          <p:spPr>
            <a:xfrm rot="5400000">
              <a:off x="1029787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Oval 75"/>
            <p:cNvSpPr/>
            <p:nvPr/>
          </p:nvSpPr>
          <p:spPr>
            <a:xfrm rot="5400000">
              <a:off x="10595146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Oval 76"/>
            <p:cNvSpPr/>
            <p:nvPr/>
          </p:nvSpPr>
          <p:spPr>
            <a:xfrm rot="5400000">
              <a:off x="10888318" y="877026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Oval 77"/>
            <p:cNvSpPr/>
            <p:nvPr/>
          </p:nvSpPr>
          <p:spPr>
            <a:xfrm rot="5400000">
              <a:off x="10888318" y="9067920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Oval 78"/>
            <p:cNvSpPr/>
            <p:nvPr/>
          </p:nvSpPr>
          <p:spPr>
            <a:xfrm rot="5400000">
              <a:off x="11189943" y="877026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Oval 80"/>
            <p:cNvSpPr/>
            <p:nvPr/>
          </p:nvSpPr>
          <p:spPr>
            <a:xfrm rot="5400000">
              <a:off x="11484583" y="787729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" name="Oval 81"/>
            <p:cNvSpPr/>
            <p:nvPr userDrawn="1"/>
          </p:nvSpPr>
          <p:spPr>
            <a:xfrm rot="5400000">
              <a:off x="11484583" y="817495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Oval 82"/>
            <p:cNvSpPr/>
            <p:nvPr/>
          </p:nvSpPr>
          <p:spPr>
            <a:xfrm rot="5400000">
              <a:off x="11484583" y="877026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Oval 83"/>
            <p:cNvSpPr/>
            <p:nvPr/>
          </p:nvSpPr>
          <p:spPr>
            <a:xfrm rot="5400000">
              <a:off x="11781854" y="817495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8264" y="230650"/>
            <a:ext cx="10658475" cy="711201"/>
          </a:xfrm>
        </p:spPr>
        <p:txBody>
          <a:bodyPr>
            <a:noAutofit/>
          </a:bodyPr>
          <a:lstStyle/>
          <a:p>
            <a:r>
              <a:rPr lang="en-US" sz="3200" dirty="0"/>
              <a:t>MYRRHA, </a:t>
            </a:r>
            <a:r>
              <a:rPr lang="en-US" sz="3200" i="1" dirty="0"/>
              <a:t>a phased approach</a:t>
            </a:r>
            <a:r>
              <a:rPr lang="en-US" sz="3200" b="0" i="1" dirty="0"/>
              <a:t/>
            </a:r>
            <a:br>
              <a:rPr lang="en-US" sz="3200" b="0" i="1" dirty="0"/>
            </a:br>
            <a:endParaRPr lang="en-US" sz="3200" b="0" i="1" dirty="0"/>
          </a:p>
        </p:txBody>
      </p:sp>
      <p:sp>
        <p:nvSpPr>
          <p:cNvPr id="1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</p:spPr>
        <p:txBody>
          <a:bodyPr/>
          <a:lstStyle/>
          <a:p>
            <a:fld id="{A814E660-BF25-4843-B2A0-93C6E2B6253B}" type="slidenum">
              <a:rPr lang="en-BE" smtClean="0"/>
              <a:pPr/>
              <a:t>12</a:t>
            </a:fld>
            <a:endParaRPr lang="en-BE" dirty="0"/>
          </a:p>
        </p:txBody>
      </p:sp>
      <p:sp>
        <p:nvSpPr>
          <p:cNvPr id="88" name="Rectangle 87"/>
          <p:cNvSpPr/>
          <p:nvPr/>
        </p:nvSpPr>
        <p:spPr>
          <a:xfrm>
            <a:off x="3024555" y="5607378"/>
            <a:ext cx="2042290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kumimoji="0" lang="en-US" sz="1800" b="1" i="1" u="none" strike="noStrike" kern="1200" cap="small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hase 3 -</a:t>
            </a:r>
            <a:r>
              <a:rPr kumimoji="0" lang="en-US" sz="1800" b="1" i="1" u="none" strike="noStrike" kern="1200" cap="small" spc="0" normalizeH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lang="en-US" b="1" dirty="0">
                <a:solidFill>
                  <a:srgbClr val="4472C4">
                    <a:lumMod val="7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actor</a:t>
            </a:r>
            <a:endParaRPr lang="en-US" b="1" i="1" cap="small" dirty="0">
              <a:solidFill>
                <a:srgbClr val="4472C4">
                  <a:lumMod val="75000"/>
                </a:srgb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1" name="Rectangle 90"/>
          <p:cNvSpPr/>
          <p:nvPr/>
        </p:nvSpPr>
        <p:spPr>
          <a:xfrm flipH="1">
            <a:off x="6563421" y="1239675"/>
            <a:ext cx="3234265" cy="646331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1" u="none" strike="noStrike" kern="1200" cap="small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hase 1 - </a:t>
            </a:r>
            <a:r>
              <a:rPr lang="en-US" b="1" cap="small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00 M</a:t>
            </a:r>
            <a:r>
              <a:rPr lang="en-US" b="1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</a:t>
            </a:r>
            <a:r>
              <a:rPr lang="en-US" b="1" cap="small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cap="small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“MINERVA”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4057673" y="3608678"/>
            <a:ext cx="218357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Application Centers</a:t>
            </a:r>
            <a:endParaRPr lang="en-US" dirty="0">
              <a:solidFill>
                <a:srgbClr val="C00000"/>
              </a:solidFill>
            </a:endParaRPr>
          </a:p>
          <a:p>
            <a:pPr algn="ctr"/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944245" y="2508805"/>
            <a:ext cx="498974" cy="4236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Rectangle 96"/>
          <p:cNvSpPr/>
          <p:nvPr/>
        </p:nvSpPr>
        <p:spPr>
          <a:xfrm>
            <a:off x="1561764" y="1239675"/>
            <a:ext cx="2739166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kumimoji="0" lang="en-US" sz="1800" b="1" i="1" u="none" strike="noStrike" kern="1200" cap="small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hase 2 - </a:t>
            </a:r>
            <a:r>
              <a:rPr lang="en-US" b="1" i="1" cap="small" dirty="0">
                <a:solidFill>
                  <a:srgbClr val="4472C4">
                    <a:lumMod val="7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00 </a:t>
            </a:r>
            <a:r>
              <a:rPr lang="en-US" b="1" cap="small" dirty="0">
                <a:solidFill>
                  <a:srgbClr val="4472C4">
                    <a:lumMod val="7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</a:t>
            </a:r>
            <a:r>
              <a:rPr lang="en-US" b="1" dirty="0">
                <a:solidFill>
                  <a:srgbClr val="4472C4">
                    <a:lumMod val="7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</a:t>
            </a:r>
            <a:r>
              <a:rPr lang="en-US" b="1" cap="small" dirty="0">
                <a:solidFill>
                  <a:srgbClr val="4472C4">
                    <a:lumMod val="7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</a:t>
            </a:r>
            <a:endParaRPr kumimoji="0" lang="en-US" sz="1800" b="1" i="1" u="none" strike="noStrike" kern="1200" cap="small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24" name="Straight Arrow Connector 23"/>
          <p:cNvCxnSpPr>
            <a:stCxn id="97" idx="2"/>
          </p:cNvCxnSpPr>
          <p:nvPr/>
        </p:nvCxnSpPr>
        <p:spPr>
          <a:xfrm>
            <a:off x="2931347" y="1609007"/>
            <a:ext cx="1230676" cy="1250208"/>
          </a:xfrm>
          <a:prstGeom prst="straightConnector1">
            <a:avLst/>
          </a:prstGeom>
          <a:ln w="952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8" name="Straight Arrow Connector 97"/>
          <p:cNvCxnSpPr>
            <a:stCxn id="88" idx="0"/>
          </p:cNvCxnSpPr>
          <p:nvPr/>
        </p:nvCxnSpPr>
        <p:spPr>
          <a:xfrm flipH="1" flipV="1">
            <a:off x="2793197" y="4837311"/>
            <a:ext cx="1252503" cy="770067"/>
          </a:xfrm>
          <a:prstGeom prst="straightConnector1">
            <a:avLst/>
          </a:prstGeom>
          <a:ln w="952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7" name="Group 6"/>
          <p:cNvGrpSpPr/>
          <p:nvPr/>
        </p:nvGrpSpPr>
        <p:grpSpPr>
          <a:xfrm>
            <a:off x="4961138" y="2824888"/>
            <a:ext cx="5458978" cy="486768"/>
            <a:chOff x="3066055" y="2947004"/>
            <a:chExt cx="7386833" cy="486768"/>
          </a:xfrm>
        </p:grpSpPr>
        <p:sp>
          <p:nvSpPr>
            <p:cNvPr id="139" name="Rectangle 138"/>
            <p:cNvSpPr/>
            <p:nvPr/>
          </p:nvSpPr>
          <p:spPr>
            <a:xfrm>
              <a:off x="3066055" y="2947004"/>
              <a:ext cx="3986855" cy="273522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" name="Rectangle 139"/>
            <p:cNvSpPr/>
            <p:nvPr/>
          </p:nvSpPr>
          <p:spPr>
            <a:xfrm>
              <a:off x="6925514" y="3160172"/>
              <a:ext cx="3527374" cy="273600"/>
            </a:xfrm>
            <a:prstGeom prst="rect">
              <a:avLst/>
            </a:prstGeom>
            <a:solidFill>
              <a:schemeClr val="accent4">
                <a:alpha val="4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5" name="Rectangle 144"/>
          <p:cNvSpPr/>
          <p:nvPr/>
        </p:nvSpPr>
        <p:spPr>
          <a:xfrm>
            <a:off x="4955274" y="3098669"/>
            <a:ext cx="574249" cy="510022"/>
          </a:xfrm>
          <a:prstGeom prst="rect">
            <a:avLst/>
          </a:prstGeom>
          <a:solidFill>
            <a:schemeClr val="accent4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/>
        </p:nvCxnSpPr>
        <p:spPr>
          <a:xfrm>
            <a:off x="4955274" y="2833644"/>
            <a:ext cx="0" cy="768274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/>
        </p:nvCxnSpPr>
        <p:spPr>
          <a:xfrm>
            <a:off x="5515977" y="3098410"/>
            <a:ext cx="581" cy="507342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>
          <a:xfrm flipH="1" flipV="1">
            <a:off x="4957917" y="3601919"/>
            <a:ext cx="558060" cy="454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/>
          <p:cNvCxnSpPr/>
          <p:nvPr/>
        </p:nvCxnSpPr>
        <p:spPr>
          <a:xfrm flipH="1">
            <a:off x="4965862" y="2820341"/>
            <a:ext cx="294162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/>
          <p:cNvCxnSpPr/>
          <p:nvPr/>
        </p:nvCxnSpPr>
        <p:spPr>
          <a:xfrm flipH="1">
            <a:off x="7806562" y="3311656"/>
            <a:ext cx="2606781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/>
        </p:nvCxnSpPr>
        <p:spPr>
          <a:xfrm flipH="1">
            <a:off x="7918903" y="3038056"/>
            <a:ext cx="2492876" cy="2883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/>
          <p:nvPr/>
        </p:nvCxnSpPr>
        <p:spPr>
          <a:xfrm>
            <a:off x="10411198" y="3045576"/>
            <a:ext cx="581" cy="26608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/>
          <p:nvPr/>
        </p:nvCxnSpPr>
        <p:spPr>
          <a:xfrm flipH="1">
            <a:off x="5529524" y="3098410"/>
            <a:ext cx="23040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/>
          <p:cNvCxnSpPr/>
          <p:nvPr/>
        </p:nvCxnSpPr>
        <p:spPr>
          <a:xfrm>
            <a:off x="7813209" y="3094576"/>
            <a:ext cx="581" cy="21600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/>
          <p:cNvCxnSpPr/>
          <p:nvPr/>
        </p:nvCxnSpPr>
        <p:spPr>
          <a:xfrm>
            <a:off x="7907482" y="2820341"/>
            <a:ext cx="581" cy="21600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Arrow Connector 164"/>
          <p:cNvCxnSpPr/>
          <p:nvPr/>
        </p:nvCxnSpPr>
        <p:spPr>
          <a:xfrm>
            <a:off x="5197533" y="2962341"/>
            <a:ext cx="0" cy="535495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Arrow Connector 165"/>
          <p:cNvCxnSpPr>
            <a:stCxn id="91" idx="2"/>
          </p:cNvCxnSpPr>
          <p:nvPr/>
        </p:nvCxnSpPr>
        <p:spPr>
          <a:xfrm flipH="1">
            <a:off x="6498121" y="1886006"/>
            <a:ext cx="1682432" cy="921174"/>
          </a:xfrm>
          <a:prstGeom prst="straightConnector1">
            <a:avLst/>
          </a:prstGeom>
          <a:ln w="9525">
            <a:solidFill>
              <a:srgbClr val="C00000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9575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MYRRHA reactor</a:t>
            </a:r>
          </a:p>
        </p:txBody>
      </p:sp>
      <p:pic>
        <p:nvPicPr>
          <p:cNvPr id="6" name="tabl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67508" y="3466292"/>
            <a:ext cx="5116257" cy="1858740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/>
        </p:nvSpPr>
        <p:spPr>
          <a:xfrm>
            <a:off x="1553939" y="1059808"/>
            <a:ext cx="6270253" cy="5033487"/>
          </a:xfrm>
          <a:prstGeom prst="rect">
            <a:avLst/>
          </a:prstGeom>
        </p:spPr>
        <p:txBody>
          <a:bodyPr vert="horz" lIns="74295" tIns="37148" rIns="74295" bIns="37148" rtlCol="0">
            <a:normAutofit/>
          </a:bodyPr>
          <a:lstStyle>
            <a:lvl1pPr marL="355600" indent="-2667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23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6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29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8925" indent="-216694" defTabSz="742950">
              <a:spcBef>
                <a:spcPts val="813"/>
              </a:spcBef>
              <a:buClr>
                <a:srgbClr val="73AEDB"/>
              </a:buClr>
            </a:pPr>
            <a:r>
              <a:rPr lang="en-US" sz="1463" dirty="0">
                <a:solidFill>
                  <a:srgbClr val="000000"/>
                </a:solidFill>
                <a:latin typeface="Segoe UI"/>
              </a:rPr>
              <a:t>To be operational by 2040</a:t>
            </a:r>
          </a:p>
          <a:p>
            <a:pPr marL="288925" indent="-216694" defTabSz="742950">
              <a:spcBef>
                <a:spcPts val="813"/>
              </a:spcBef>
              <a:buClr>
                <a:srgbClr val="73AEDB"/>
              </a:buClr>
            </a:pPr>
            <a:endParaRPr lang="en-US" sz="1463" dirty="0">
              <a:solidFill>
                <a:srgbClr val="000000"/>
              </a:solidFill>
              <a:latin typeface="Segoe UI"/>
            </a:endParaRPr>
          </a:p>
          <a:p>
            <a:pPr marL="288925" indent="-216694" defTabSz="742950">
              <a:spcBef>
                <a:spcPts val="813"/>
              </a:spcBef>
              <a:buClr>
                <a:srgbClr val="73AEDB"/>
              </a:buClr>
            </a:pPr>
            <a:r>
              <a:rPr lang="en-US" sz="1463" dirty="0">
                <a:solidFill>
                  <a:srgbClr val="000000"/>
                </a:solidFill>
                <a:latin typeface="Segoe UI"/>
              </a:rPr>
              <a:t>Sub-critical operation (</a:t>
            </a:r>
            <a:r>
              <a:rPr lang="en-US" sz="1463" dirty="0" err="1">
                <a:solidFill>
                  <a:srgbClr val="000000"/>
                </a:solidFill>
                <a:latin typeface="Segoe UI"/>
              </a:rPr>
              <a:t>k</a:t>
            </a:r>
            <a:r>
              <a:rPr lang="en-US" sz="1463" baseline="-25000" dirty="0" err="1">
                <a:solidFill>
                  <a:srgbClr val="000000"/>
                </a:solidFill>
                <a:latin typeface="Segoe UI"/>
              </a:rPr>
              <a:t>eff</a:t>
            </a:r>
            <a:r>
              <a:rPr lang="en-US" sz="1463" dirty="0">
                <a:solidFill>
                  <a:srgbClr val="000000"/>
                </a:solidFill>
                <a:latin typeface="Segoe UI"/>
              </a:rPr>
              <a:t> &lt; 0.97)</a:t>
            </a:r>
          </a:p>
          <a:p>
            <a:pPr marL="288925" indent="-216694" defTabSz="742950">
              <a:spcBef>
                <a:spcPts val="813"/>
              </a:spcBef>
              <a:buClr>
                <a:srgbClr val="73AEDB"/>
              </a:buClr>
            </a:pPr>
            <a:endParaRPr lang="en-US" sz="1463" dirty="0">
              <a:solidFill>
                <a:srgbClr val="000000"/>
              </a:solidFill>
              <a:latin typeface="Segoe UI"/>
            </a:endParaRPr>
          </a:p>
          <a:p>
            <a:pPr marL="288925" indent="-216694" defTabSz="742950">
              <a:spcBef>
                <a:spcPts val="813"/>
              </a:spcBef>
              <a:buClr>
                <a:srgbClr val="73AEDB"/>
              </a:buClr>
            </a:pPr>
            <a:r>
              <a:rPr lang="en-US" sz="1463" b="1" dirty="0">
                <a:solidFill>
                  <a:srgbClr val="000000"/>
                </a:solidFill>
                <a:latin typeface="Segoe UI"/>
              </a:rPr>
              <a:t>Inherently safe</a:t>
            </a:r>
          </a:p>
          <a:p>
            <a:pPr marL="555625" lvl="1" indent="-216694" defTabSz="742950">
              <a:spcBef>
                <a:spcPts val="813"/>
              </a:spcBef>
              <a:buClr>
                <a:srgbClr val="73AEDB"/>
              </a:buClr>
            </a:pPr>
            <a:r>
              <a:rPr lang="en-US" sz="1463" dirty="0">
                <a:solidFill>
                  <a:srgbClr val="000000"/>
                </a:solidFill>
                <a:latin typeface="Segoe UI"/>
              </a:rPr>
              <a:t>Proton driver determines neutron flux (no chain-reaction)</a:t>
            </a:r>
          </a:p>
          <a:p>
            <a:pPr marL="555625" lvl="1" indent="-216694" defTabSz="742950">
              <a:spcBef>
                <a:spcPts val="813"/>
              </a:spcBef>
              <a:buClr>
                <a:srgbClr val="73AEDB"/>
              </a:buClr>
            </a:pPr>
            <a:r>
              <a:rPr lang="en-US" sz="1463" dirty="0">
                <a:solidFill>
                  <a:srgbClr val="000000"/>
                </a:solidFill>
              </a:rPr>
              <a:t>Passive decay heat removal - by natural convection</a:t>
            </a:r>
          </a:p>
          <a:p>
            <a:pPr marL="555625" lvl="1" indent="-216694" defTabSz="742950">
              <a:spcBef>
                <a:spcPts val="813"/>
              </a:spcBef>
              <a:buClr>
                <a:srgbClr val="73AEDB"/>
              </a:buClr>
            </a:pPr>
            <a:endParaRPr lang="en-US" sz="1463" dirty="0">
              <a:solidFill>
                <a:srgbClr val="000000"/>
              </a:solidFill>
              <a:latin typeface="Segoe UI"/>
            </a:endParaRPr>
          </a:p>
          <a:p>
            <a:pPr marL="288925" indent="-216694" defTabSz="742950">
              <a:spcBef>
                <a:spcPts val="813"/>
              </a:spcBef>
              <a:buClr>
                <a:srgbClr val="73AEDB"/>
              </a:buClr>
            </a:pPr>
            <a:endParaRPr lang="en-US" sz="1463" dirty="0">
              <a:solidFill>
                <a:srgbClr val="000000"/>
              </a:solidFill>
              <a:latin typeface="Segoe UI"/>
            </a:endParaRPr>
          </a:p>
          <a:p>
            <a:pPr marL="288925" indent="-216694" defTabSz="742950">
              <a:spcBef>
                <a:spcPts val="813"/>
              </a:spcBef>
              <a:buClr>
                <a:srgbClr val="73AEDB"/>
              </a:buClr>
            </a:pPr>
            <a:endParaRPr lang="en-US" sz="1463" dirty="0">
              <a:solidFill>
                <a:srgbClr val="000000"/>
              </a:solidFill>
              <a:latin typeface="Segoe UI"/>
            </a:endParaRPr>
          </a:p>
          <a:p>
            <a:pPr marL="288925" indent="-216694" defTabSz="742950">
              <a:spcBef>
                <a:spcPts val="813"/>
              </a:spcBef>
              <a:buClr>
                <a:srgbClr val="73AEDB"/>
              </a:buClr>
            </a:pPr>
            <a:endParaRPr lang="en-US" sz="1463" dirty="0">
              <a:solidFill>
                <a:srgbClr val="000000"/>
              </a:solidFill>
              <a:latin typeface="Segoe UI"/>
            </a:endParaRPr>
          </a:p>
          <a:p>
            <a:pPr marL="288925" indent="-216694" defTabSz="742950">
              <a:spcBef>
                <a:spcPts val="813"/>
              </a:spcBef>
              <a:buClr>
                <a:srgbClr val="73AEDB"/>
              </a:buClr>
            </a:pPr>
            <a:endParaRPr lang="en-US" sz="1463" dirty="0">
              <a:solidFill>
                <a:srgbClr val="000000"/>
              </a:solidFill>
              <a:latin typeface="Segoe UI"/>
            </a:endParaRPr>
          </a:p>
          <a:p>
            <a:pPr marL="288925" indent="-216694" defTabSz="742950">
              <a:spcBef>
                <a:spcPts val="813"/>
              </a:spcBef>
              <a:buClr>
                <a:srgbClr val="73AEDB"/>
              </a:buClr>
            </a:pPr>
            <a:endParaRPr lang="en-US" sz="1463" dirty="0">
              <a:solidFill>
                <a:srgbClr val="000000"/>
              </a:solidFill>
              <a:latin typeface="Segoe UI"/>
            </a:endParaRPr>
          </a:p>
          <a:p>
            <a:pPr marL="288925" indent="-216694" defTabSz="742950">
              <a:spcBef>
                <a:spcPts val="813"/>
              </a:spcBef>
              <a:buClr>
                <a:srgbClr val="73AEDB"/>
              </a:buClr>
            </a:pPr>
            <a:endParaRPr lang="en-US" sz="1463" dirty="0">
              <a:solidFill>
                <a:srgbClr val="000000"/>
              </a:solidFill>
              <a:latin typeface="Segoe UI"/>
            </a:endParaRPr>
          </a:p>
          <a:p>
            <a:pPr marL="288925" indent="-216694" defTabSz="742950">
              <a:spcBef>
                <a:spcPts val="813"/>
              </a:spcBef>
              <a:buClr>
                <a:srgbClr val="73AEDB"/>
              </a:buClr>
            </a:pPr>
            <a:endParaRPr lang="en-US" sz="1463" dirty="0">
              <a:solidFill>
                <a:srgbClr val="000000"/>
              </a:solidFill>
              <a:latin typeface="Segoe UI"/>
            </a:endParaRPr>
          </a:p>
          <a:p>
            <a:pPr marL="288925" indent="-216694" defTabSz="742950">
              <a:spcBef>
                <a:spcPts val="813"/>
              </a:spcBef>
              <a:buClr>
                <a:srgbClr val="73AEDB"/>
              </a:buClr>
            </a:pPr>
            <a:endParaRPr lang="en-US" sz="1463" dirty="0">
              <a:solidFill>
                <a:srgbClr val="000000"/>
              </a:solidFill>
              <a:latin typeface="Segoe UI"/>
            </a:endParaRPr>
          </a:p>
        </p:txBody>
      </p:sp>
      <p:pic>
        <p:nvPicPr>
          <p:cNvPr id="8" name="Picture 7" descr="image001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7F9FA"/>
              </a:clrFrom>
              <a:clrTo>
                <a:srgbClr val="F7F9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7" y="1052735"/>
            <a:ext cx="3407431" cy="4790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262662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ing accelerator require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600 MeV protons</a:t>
            </a:r>
          </a:p>
          <a:p>
            <a:r>
              <a:rPr lang="en-US" dirty="0"/>
              <a:t>4mA CW</a:t>
            </a:r>
          </a:p>
          <a:p>
            <a:r>
              <a:rPr lang="en-US" dirty="0"/>
              <a:t>Reliability: &lt;10 beam trips of &gt;3 s per 90 day run</a:t>
            </a:r>
          </a:p>
          <a:p>
            <a:pPr lvl="1"/>
            <a:r>
              <a:rPr lang="en-US" dirty="0"/>
              <a:t>Minimize the mechanical stresses to the reactor structure</a:t>
            </a:r>
          </a:p>
          <a:p>
            <a:pPr lvl="1"/>
            <a:r>
              <a:rPr lang="en-US" dirty="0"/>
              <a:t>Maximize the uptim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7268649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lerator key design decision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/>
              <a:t>Source:</a:t>
            </a:r>
            <a:endParaRPr lang="nl-BE" dirty="0"/>
          </a:p>
        </p:txBody>
      </p:sp>
      <p:pic>
        <p:nvPicPr>
          <p:cNvPr id="5" name="Content Placeholder 7"/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777" b="27551"/>
          <a:stretch/>
        </p:blipFill>
        <p:spPr>
          <a:xfrm>
            <a:off x="609600" y="4429497"/>
            <a:ext cx="10972800" cy="2038525"/>
          </a:xfrm>
        </p:spPr>
      </p:pic>
      <p:sp>
        <p:nvSpPr>
          <p:cNvPr id="8" name="Content Placeholder 2"/>
          <p:cNvSpPr txBox="1">
            <a:spLocks/>
          </p:cNvSpPr>
          <p:nvPr/>
        </p:nvSpPr>
        <p:spPr>
          <a:xfrm>
            <a:off x="609600" y="1141545"/>
            <a:ext cx="10972800" cy="4984620"/>
          </a:xfrm>
          <a:prstGeom prst="rect">
            <a:avLst/>
          </a:prstGeom>
        </p:spPr>
        <p:txBody>
          <a:bodyPr>
            <a:normAutofit/>
          </a:bodyPr>
          <a:lstStyle>
            <a:lvl1pPr marL="402335" indent="-402335" algn="l" defTabSz="1072892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71725" indent="-335278" algn="l" defTabSz="1072892" rtl="0" eaLnBrk="1" latinLnBrk="0" hangingPunct="1">
              <a:spcBef>
                <a:spcPct val="20000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41116" indent="-268223" algn="l" defTabSz="1072892" rtl="0" eaLnBrk="1" latinLnBrk="0" hangingPunct="1">
              <a:spcBef>
                <a:spcPct val="20000"/>
              </a:spcBef>
              <a:buClr>
                <a:schemeClr val="accent4"/>
              </a:buClr>
              <a:buSzPct val="100000"/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77562" indent="-268223" algn="l" defTabSz="1072892" rtl="0" eaLnBrk="1" latinLnBrk="0" hangingPunct="1">
              <a:spcBef>
                <a:spcPct val="20000"/>
              </a:spcBef>
              <a:buClr>
                <a:schemeClr val="accent4"/>
              </a:buClr>
              <a:buSzPct val="100000"/>
              <a:buFont typeface="Arial" panose="020B0604020202020204" pitchFamily="34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14007" indent="-268223" algn="l" defTabSz="1072892" rtl="0" eaLnBrk="1" latinLnBrk="0" hangingPunct="1">
              <a:spcBef>
                <a:spcPct val="20000"/>
              </a:spcBef>
              <a:buClr>
                <a:schemeClr val="accent4"/>
              </a:buClr>
              <a:buSzPct val="100000"/>
              <a:buFont typeface="Arial" panose="020B0604020202020204" pitchFamily="34" charset="0"/>
              <a:buChar char="»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50454" indent="-268223" algn="l" defTabSz="107289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900" indent="-268223" algn="l" defTabSz="107289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346" indent="-268223" algn="l" defTabSz="107289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792" indent="-268223" algn="l" defTabSz="107289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7 MeV normal conducting injector</a:t>
            </a:r>
          </a:p>
          <a:p>
            <a:pPr lvl="1"/>
            <a:r>
              <a:rPr lang="en-US" dirty="0"/>
              <a:t>Parallel redundancy</a:t>
            </a:r>
          </a:p>
          <a:p>
            <a:r>
              <a:rPr lang="en-US" dirty="0"/>
              <a:t>Superconducting linac</a:t>
            </a:r>
          </a:p>
          <a:p>
            <a:pPr lvl="1"/>
            <a:r>
              <a:rPr lang="en-US" dirty="0"/>
              <a:t>3 types of SC cavities</a:t>
            </a:r>
          </a:p>
          <a:p>
            <a:pPr lvl="1"/>
            <a:r>
              <a:rPr lang="en-US" dirty="0"/>
              <a:t>Significant RF-power overhead for serial redundancy</a:t>
            </a:r>
          </a:p>
          <a:p>
            <a:r>
              <a:rPr lang="en-US" dirty="0"/>
              <a:t>Use of solid state amplifiers</a:t>
            </a:r>
          </a:p>
        </p:txBody>
      </p:sp>
    </p:spTree>
    <p:extLst>
      <p:ext uri="{BB962C8B-B14F-4D97-AF65-F5344CB8AC3E}">
        <p14:creationId xmlns:p14="http://schemas.microsoft.com/office/powerpoint/2010/main" val="37831104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MINERVA = MYRRHA phase 1 implementation</a:t>
            </a:r>
          </a:p>
        </p:txBody>
      </p:sp>
      <p:sp>
        <p:nvSpPr>
          <p:cNvPr id="2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969080" y="6631191"/>
            <a:ext cx="2743200" cy="230784"/>
          </a:xfrm>
        </p:spPr>
        <p:txBody>
          <a:bodyPr/>
          <a:lstStyle/>
          <a:p>
            <a:fld id="{A814E660-BF25-4843-B2A0-93C6E2B6253B}" type="slidenum">
              <a:rPr lang="en-BE" smtClean="0"/>
              <a:pPr/>
              <a:t>16</a:t>
            </a:fld>
            <a:endParaRPr lang="en-BE" dirty="0"/>
          </a:p>
        </p:txBody>
      </p:sp>
      <p:sp>
        <p:nvSpPr>
          <p:cNvPr id="31" name="TextBox 30"/>
          <p:cNvSpPr txBox="1"/>
          <p:nvPr/>
        </p:nvSpPr>
        <p:spPr>
          <a:xfrm>
            <a:off x="330404" y="933451"/>
            <a:ext cx="6945812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b="1" dirty="0"/>
              <a:t>100 MeV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b="1" dirty="0"/>
              <a:t>1 injector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b="1" dirty="0"/>
              <a:t>1 SC cavity typ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b="1" dirty="0"/>
              <a:t>Test the reliability concepts (RF-fault tolerance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Two target stations: 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b="1" dirty="0"/>
              <a:t>ISOL system (PTF</a:t>
            </a:r>
            <a:r>
              <a:rPr lang="en-US" dirty="0"/>
              <a:t>): </a:t>
            </a:r>
            <a:r>
              <a:rPr lang="en-US" i="1" dirty="0"/>
              <a:t>reduced duty factor (50kW)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b="1" dirty="0"/>
              <a:t>Full power Facility (FPF)</a:t>
            </a:r>
            <a:r>
              <a:rPr lang="en-US" dirty="0"/>
              <a:t>: </a:t>
            </a:r>
            <a:r>
              <a:rPr lang="en-US" i="1" dirty="0"/>
              <a:t>Fusion material research, 400 kW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643" y="1845067"/>
            <a:ext cx="11289755" cy="4549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080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036" y="3635711"/>
            <a:ext cx="6968564" cy="3092644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5"/>
          </p:nvPr>
        </p:nvSpPr>
        <p:spPr>
          <a:xfrm>
            <a:off x="182867" y="803646"/>
            <a:ext cx="11732908" cy="2387229"/>
          </a:xfrm>
        </p:spPr>
        <p:txBody>
          <a:bodyPr>
            <a:normAutofit lnSpcReduction="10000"/>
          </a:bodyPr>
          <a:lstStyle/>
          <a:p>
            <a:r>
              <a:rPr lang="en-US" dirty="0"/>
              <a:t>Normal conducting CH-cavities up to 17MeV, 176MHz</a:t>
            </a:r>
          </a:p>
          <a:p>
            <a:r>
              <a:rPr lang="en-US" dirty="0"/>
              <a:t>Experimentally validated up to exit RFQ in R&amp;D manner</a:t>
            </a:r>
          </a:p>
          <a:p>
            <a:pPr lvl="1"/>
            <a:r>
              <a:rPr lang="en-US" dirty="0"/>
              <a:t>ECR ion source</a:t>
            </a:r>
            <a:r>
              <a:rPr lang="en-US" sz="1800" dirty="0"/>
              <a:t>, </a:t>
            </a:r>
            <a:r>
              <a:rPr lang="en-US" dirty="0"/>
              <a:t>4-rod RFQ with up to 160 kW</a:t>
            </a:r>
          </a:p>
          <a:p>
            <a:pPr lvl="1"/>
            <a:r>
              <a:rPr lang="en-US" dirty="0"/>
              <a:t>Emittance measurement done</a:t>
            </a:r>
          </a:p>
          <a:p>
            <a:r>
              <a:rPr lang="en-US" dirty="0"/>
              <a:t>Full Beam characterization including collimation (also in stand-by inj.)</a:t>
            </a:r>
          </a:p>
          <a:p>
            <a:pPr lvl="1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814E660-BF25-4843-B2A0-93C6E2B6253B}" type="slidenum">
              <a:rPr lang="en-BE" smtClean="0"/>
              <a:pPr/>
              <a:t>17</a:t>
            </a:fld>
            <a:endParaRPr lang="en-B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Injector</a:t>
            </a:r>
          </a:p>
        </p:txBody>
      </p:sp>
      <p:pic>
        <p:nvPicPr>
          <p:cNvPr id="5" name="Image 2" descr="IMG_2094.jp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839" t="16155" b="27809"/>
          <a:stretch/>
        </p:blipFill>
        <p:spPr>
          <a:xfrm>
            <a:off x="7809831" y="3394807"/>
            <a:ext cx="3712804" cy="288092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955254" y="3407392"/>
            <a:ext cx="13944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H-linac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349714" y="3130393"/>
            <a:ext cx="16885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iagnostic &amp; Collimation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34447" y="3407392"/>
            <a:ext cx="13944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ogleg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401280" y="3407392"/>
            <a:ext cx="13944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C-linac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76E8EDE-5AC2-DD6B-7DE8-68315885A520}"/>
              </a:ext>
            </a:extLst>
          </p:cNvPr>
          <p:cNvSpPr txBox="1"/>
          <p:nvPr/>
        </p:nvSpPr>
        <p:spPr>
          <a:xfrm>
            <a:off x="7760203" y="6275733"/>
            <a:ext cx="38120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Injector test stand currently being dismantled</a:t>
            </a:r>
            <a:endParaRPr lang="en-150" sz="14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9B66499-0681-1BDB-DCE4-279108B8027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1602" y="432678"/>
            <a:ext cx="1570079" cy="1521666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5" name="Table 14">
                <a:extLst>
                  <a:ext uri="{FF2B5EF4-FFF2-40B4-BE49-F238E27FC236}">
                    <a16:creationId xmlns:a16="http://schemas.microsoft.com/office/drawing/2014/main" id="{20525143-E38E-BF36-2478-5D30646D4BD7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04701810"/>
                  </p:ext>
                </p:extLst>
              </p:nvPr>
            </p:nvGraphicFramePr>
            <p:xfrm>
              <a:off x="8399063" y="2033234"/>
              <a:ext cx="3610070" cy="584611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680820">
                      <a:extLst>
                        <a:ext uri="{9D8B030D-6E8A-4147-A177-3AD203B41FA5}">
                          <a16:colId xmlns:a16="http://schemas.microsoft.com/office/drawing/2014/main" val="3143407840"/>
                        </a:ext>
                      </a:extLst>
                    </a:gridCol>
                    <a:gridCol w="1531346">
                      <a:extLst>
                        <a:ext uri="{9D8B030D-6E8A-4147-A177-3AD203B41FA5}">
                          <a16:colId xmlns:a16="http://schemas.microsoft.com/office/drawing/2014/main" val="3762380285"/>
                        </a:ext>
                      </a:extLst>
                    </a:gridCol>
                    <a:gridCol w="1397904">
                      <a:extLst>
                        <a:ext uri="{9D8B030D-6E8A-4147-A177-3AD203B41FA5}">
                          <a16:colId xmlns:a16="http://schemas.microsoft.com/office/drawing/2014/main" val="1663956061"/>
                        </a:ext>
                      </a:extLst>
                    </a:gridCol>
                  </a:tblGrid>
                  <a:tr h="206221">
                    <a:tc>
                      <a:txBody>
                        <a:bodyPr/>
                        <a:lstStyle/>
                        <a:p>
                          <a:r>
                            <a:rPr lang="en-US" sz="900" dirty="0"/>
                            <a:t>Emittance</a:t>
                          </a:r>
                        </a:p>
                      </a:txBody>
                      <a:tcPr marL="46650" marR="46650" marT="23325" marB="23325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900" dirty="0"/>
                            <a:t>Horizontal (</a:t>
                          </a:r>
                          <a14:m>
                            <m:oMath xmlns:m="http://schemas.openxmlformats.org/officeDocument/2006/math">
                              <m:r>
                                <a:rPr lang="en-US" sz="900" b="1" i="1" smtClean="0">
                                  <a:latin typeface="Cambria Math" panose="02040503050406030204" pitchFamily="18" charset="0"/>
                                </a:rPr>
                                <m:t>𝝅</m:t>
                              </m:r>
                              <m:r>
                                <a:rPr lang="en-US" sz="900" b="1" i="1" smtClean="0">
                                  <a:latin typeface="Cambria Math" panose="02040503050406030204" pitchFamily="18" charset="0"/>
                                </a:rPr>
                                <m:t>.</m:t>
                              </m:r>
                              <m:r>
                                <a:rPr lang="en-US" sz="900" b="1" i="1" smtClean="0">
                                  <a:latin typeface="Cambria Math" panose="02040503050406030204" pitchFamily="18" charset="0"/>
                                </a:rPr>
                                <m:t>𝒎𝒎</m:t>
                              </m:r>
                              <m:r>
                                <a:rPr lang="en-US" sz="900" b="1" i="1" smtClean="0">
                                  <a:latin typeface="Cambria Math" panose="02040503050406030204" pitchFamily="18" charset="0"/>
                                </a:rPr>
                                <m:t>.</m:t>
                              </m:r>
                              <m:r>
                                <a:rPr lang="en-US" sz="900" b="1" i="1" smtClean="0">
                                  <a:latin typeface="Cambria Math" panose="02040503050406030204" pitchFamily="18" charset="0"/>
                                </a:rPr>
                                <m:t>𝒎𝒓𝒂𝒅</m:t>
                              </m:r>
                              <m:r>
                                <a:rPr lang="en-US" sz="900" b="1" i="1" smtClean="0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oMath>
                          </a14:m>
                          <a:endParaRPr lang="en-US" sz="900" dirty="0"/>
                        </a:p>
                      </a:txBody>
                      <a:tcPr marL="46650" marR="46650" marT="23325" marB="23325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900" dirty="0"/>
                            <a:t>Vertical  (</a:t>
                          </a:r>
                          <a14:m>
                            <m:oMath xmlns:m="http://schemas.openxmlformats.org/officeDocument/2006/math">
                              <m:r>
                                <a:rPr lang="en-US" sz="900" b="1" i="1" smtClean="0">
                                  <a:latin typeface="Cambria Math" panose="02040503050406030204" pitchFamily="18" charset="0"/>
                                </a:rPr>
                                <m:t>𝝅</m:t>
                              </m:r>
                              <m:r>
                                <a:rPr lang="en-US" sz="900" b="1" i="1" smtClean="0">
                                  <a:latin typeface="Cambria Math" panose="02040503050406030204" pitchFamily="18" charset="0"/>
                                </a:rPr>
                                <m:t>.</m:t>
                              </m:r>
                              <m:r>
                                <a:rPr lang="en-US" sz="900" b="1" i="1" smtClean="0">
                                  <a:latin typeface="Cambria Math" panose="02040503050406030204" pitchFamily="18" charset="0"/>
                                </a:rPr>
                                <m:t>𝒎𝒎</m:t>
                              </m:r>
                              <m:r>
                                <a:rPr lang="en-US" sz="900" b="1" i="1" smtClean="0">
                                  <a:latin typeface="Cambria Math" panose="02040503050406030204" pitchFamily="18" charset="0"/>
                                </a:rPr>
                                <m:t>.</m:t>
                              </m:r>
                              <m:r>
                                <a:rPr lang="en-US" sz="900" b="1" i="1" smtClean="0">
                                  <a:latin typeface="Cambria Math" panose="02040503050406030204" pitchFamily="18" charset="0"/>
                                </a:rPr>
                                <m:t>𝒎𝒓𝒂𝒅</m:t>
                              </m:r>
                              <m:r>
                                <a:rPr lang="en-US" sz="900" b="1" i="1" smtClean="0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oMath>
                          </a14:m>
                          <a:endParaRPr lang="en-US" sz="900" dirty="0"/>
                        </a:p>
                      </a:txBody>
                      <a:tcPr marL="46650" marR="46650" marT="23325" marB="23325"/>
                    </a:tc>
                    <a:extLst>
                      <a:ext uri="{0D108BD9-81ED-4DB2-BD59-A6C34878D82A}">
                        <a16:rowId xmlns:a16="http://schemas.microsoft.com/office/drawing/2014/main" val="3837062001"/>
                      </a:ext>
                    </a:extLst>
                  </a:tr>
                  <a:tr h="189195">
                    <a:tc>
                      <a:txBody>
                        <a:bodyPr/>
                        <a:lstStyle/>
                        <a:p>
                          <a:r>
                            <a:rPr lang="en-US" sz="900" dirty="0"/>
                            <a:t>Simulation</a:t>
                          </a:r>
                        </a:p>
                      </a:txBody>
                      <a:tcPr marL="46650" marR="46650" marT="23325" marB="23325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900" dirty="0"/>
                            <a:t>0.114</a:t>
                          </a:r>
                        </a:p>
                      </a:txBody>
                      <a:tcPr marL="46650" marR="46650" marT="23325" marB="23325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900" dirty="0"/>
                            <a:t>0.113</a:t>
                          </a:r>
                        </a:p>
                      </a:txBody>
                      <a:tcPr marL="46650" marR="46650" marT="23325" marB="23325"/>
                    </a:tc>
                    <a:extLst>
                      <a:ext uri="{0D108BD9-81ED-4DB2-BD59-A6C34878D82A}">
                        <a16:rowId xmlns:a16="http://schemas.microsoft.com/office/drawing/2014/main" val="1611379084"/>
                      </a:ext>
                    </a:extLst>
                  </a:tr>
                  <a:tr h="189195">
                    <a:tc>
                      <a:txBody>
                        <a:bodyPr/>
                        <a:lstStyle/>
                        <a:p>
                          <a:r>
                            <a:rPr lang="en-US" sz="900" dirty="0"/>
                            <a:t>Scan</a:t>
                          </a:r>
                        </a:p>
                      </a:txBody>
                      <a:tcPr marL="46650" marR="46650" marT="23325" marB="23325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900" dirty="0"/>
                            <a:t>0.080(7)</a:t>
                          </a:r>
                        </a:p>
                      </a:txBody>
                      <a:tcPr marL="46650" marR="46650" marT="23325" marB="23325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900" dirty="0"/>
                            <a:t>0.093(5)</a:t>
                          </a:r>
                        </a:p>
                      </a:txBody>
                      <a:tcPr marL="46650" marR="46650" marT="23325" marB="23325"/>
                    </a:tc>
                    <a:extLst>
                      <a:ext uri="{0D108BD9-81ED-4DB2-BD59-A6C34878D82A}">
                        <a16:rowId xmlns:a16="http://schemas.microsoft.com/office/drawing/2014/main" val="2026924931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15" name="Table 14">
                <a:extLst>
                  <a:ext uri="{FF2B5EF4-FFF2-40B4-BE49-F238E27FC236}">
                    <a16:creationId xmlns:a16="http://schemas.microsoft.com/office/drawing/2014/main" id="{20525143-E38E-BF36-2478-5D30646D4BD7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04701810"/>
                  </p:ext>
                </p:extLst>
              </p:nvPr>
            </p:nvGraphicFramePr>
            <p:xfrm>
              <a:off x="8399063" y="2033234"/>
              <a:ext cx="3610070" cy="584611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680820">
                      <a:extLst>
                        <a:ext uri="{9D8B030D-6E8A-4147-A177-3AD203B41FA5}">
                          <a16:colId xmlns:a16="http://schemas.microsoft.com/office/drawing/2014/main" val="3143407840"/>
                        </a:ext>
                      </a:extLst>
                    </a:gridCol>
                    <a:gridCol w="1531346">
                      <a:extLst>
                        <a:ext uri="{9D8B030D-6E8A-4147-A177-3AD203B41FA5}">
                          <a16:colId xmlns:a16="http://schemas.microsoft.com/office/drawing/2014/main" val="3762380285"/>
                        </a:ext>
                      </a:extLst>
                    </a:gridCol>
                    <a:gridCol w="1397904">
                      <a:extLst>
                        <a:ext uri="{9D8B030D-6E8A-4147-A177-3AD203B41FA5}">
                          <a16:colId xmlns:a16="http://schemas.microsoft.com/office/drawing/2014/main" val="1663956061"/>
                        </a:ext>
                      </a:extLst>
                    </a:gridCol>
                  </a:tblGrid>
                  <a:tr h="206221">
                    <a:tc>
                      <a:txBody>
                        <a:bodyPr/>
                        <a:lstStyle/>
                        <a:p>
                          <a:r>
                            <a:rPr lang="en-US" sz="900" dirty="0"/>
                            <a:t>Emittance</a:t>
                          </a:r>
                        </a:p>
                      </a:txBody>
                      <a:tcPr marL="46650" marR="46650" marT="23325" marB="23325"/>
                    </a:tc>
                    <a:tc>
                      <a:txBody>
                        <a:bodyPr/>
                        <a:lstStyle/>
                        <a:p>
                          <a:endParaRPr lang="en-150"/>
                        </a:p>
                      </a:txBody>
                      <a:tcPr marL="46650" marR="46650" marT="23325" marB="23325">
                        <a:blipFill>
                          <a:blip r:embed="rId6"/>
                          <a:stretch>
                            <a:fillRect l="-44841" t="-8824" r="-92857" b="-202941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150"/>
                        </a:p>
                      </a:txBody>
                      <a:tcPr marL="46650" marR="46650" marT="23325" marB="23325">
                        <a:blipFill>
                          <a:blip r:embed="rId6"/>
                          <a:stretch>
                            <a:fillRect l="-158696" t="-8824" r="-1739" b="-202941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3837062001"/>
                      </a:ext>
                    </a:extLst>
                  </a:tr>
                  <a:tr h="189195">
                    <a:tc>
                      <a:txBody>
                        <a:bodyPr/>
                        <a:lstStyle/>
                        <a:p>
                          <a:r>
                            <a:rPr lang="en-US" sz="900" dirty="0"/>
                            <a:t>Simulation</a:t>
                          </a:r>
                        </a:p>
                      </a:txBody>
                      <a:tcPr marL="46650" marR="46650" marT="23325" marB="23325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900" dirty="0"/>
                            <a:t>0.114</a:t>
                          </a:r>
                        </a:p>
                      </a:txBody>
                      <a:tcPr marL="46650" marR="46650" marT="23325" marB="23325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900" dirty="0"/>
                            <a:t>0.113</a:t>
                          </a:r>
                        </a:p>
                      </a:txBody>
                      <a:tcPr marL="46650" marR="46650" marT="23325" marB="23325"/>
                    </a:tc>
                    <a:extLst>
                      <a:ext uri="{0D108BD9-81ED-4DB2-BD59-A6C34878D82A}">
                        <a16:rowId xmlns:a16="http://schemas.microsoft.com/office/drawing/2014/main" val="1611379084"/>
                      </a:ext>
                    </a:extLst>
                  </a:tr>
                  <a:tr h="189195">
                    <a:tc>
                      <a:txBody>
                        <a:bodyPr/>
                        <a:lstStyle/>
                        <a:p>
                          <a:r>
                            <a:rPr lang="en-US" sz="900" dirty="0"/>
                            <a:t>Scan</a:t>
                          </a:r>
                        </a:p>
                      </a:txBody>
                      <a:tcPr marL="46650" marR="46650" marT="23325" marB="23325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900" dirty="0"/>
                            <a:t>0.080(7)</a:t>
                          </a:r>
                        </a:p>
                      </a:txBody>
                      <a:tcPr marL="46650" marR="46650" marT="23325" marB="23325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900" dirty="0"/>
                            <a:t>0.093(5)</a:t>
                          </a:r>
                        </a:p>
                      </a:txBody>
                      <a:tcPr marL="46650" marR="46650" marT="23325" marB="23325"/>
                    </a:tc>
                    <a:extLst>
                      <a:ext uri="{0D108BD9-81ED-4DB2-BD59-A6C34878D82A}">
                        <a16:rowId xmlns:a16="http://schemas.microsoft.com/office/drawing/2014/main" val="2026924931"/>
                      </a:ext>
                    </a:extLst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1370080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jector </a:t>
            </a:r>
            <a:r>
              <a:rPr lang="en-US" dirty="0" err="1"/>
              <a:t>Teststand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/>
              <a:t>Source:</a:t>
            </a:r>
            <a:endParaRPr lang="nl-BE" dirty="0"/>
          </a:p>
        </p:txBody>
      </p:sp>
      <p:pic>
        <p:nvPicPr>
          <p:cNvPr id="6" name="Image 2" descr="IMG_2094.jp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839" t="16155" b="27809"/>
          <a:stretch/>
        </p:blipFill>
        <p:spPr>
          <a:xfrm>
            <a:off x="3993160" y="1275127"/>
            <a:ext cx="3556932" cy="2759978"/>
          </a:xfrm>
          <a:prstGeom prst="rect">
            <a:avLst/>
          </a:prstGeom>
        </p:spPr>
      </p:pic>
      <p:pic>
        <p:nvPicPr>
          <p:cNvPr id="7" name="Image 5" descr="DSC_2210.jp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65"/>
          <a:stretch/>
        </p:blipFill>
        <p:spPr>
          <a:xfrm>
            <a:off x="587228" y="1276758"/>
            <a:ext cx="3146574" cy="274419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520118" y="4210269"/>
            <a:ext cx="400154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/>
              <a:t>Pantechnik</a:t>
            </a:r>
            <a:r>
              <a:rPr lang="en-US" dirty="0"/>
              <a:t> Monogan1000</a:t>
            </a:r>
          </a:p>
          <a:p>
            <a:r>
              <a:rPr lang="en-US" dirty="0"/>
              <a:t>LEBT</a:t>
            </a:r>
          </a:p>
          <a:p>
            <a:pPr lvl="1"/>
            <a:r>
              <a:rPr lang="en-US" dirty="0"/>
              <a:t>2 solenoids optics</a:t>
            </a:r>
          </a:p>
          <a:p>
            <a:pPr lvl="1"/>
            <a:r>
              <a:rPr lang="en-US" dirty="0"/>
              <a:t>gas injection for SCC</a:t>
            </a:r>
          </a:p>
          <a:p>
            <a:pPr lvl="1"/>
            <a:r>
              <a:rPr lang="en-US" dirty="0"/>
              <a:t>2 Allison </a:t>
            </a:r>
            <a:r>
              <a:rPr lang="en-US" dirty="0" err="1"/>
              <a:t>emittancemeters</a:t>
            </a:r>
            <a:endParaRPr lang="en-US" dirty="0"/>
          </a:p>
          <a:p>
            <a:pPr lvl="1"/>
            <a:r>
              <a:rPr lang="en-US" dirty="0"/>
              <a:t>electrostatic chopper</a:t>
            </a:r>
          </a:p>
          <a:p>
            <a:pPr lvl="1"/>
            <a:r>
              <a:rPr lang="en-US" dirty="0"/>
              <a:t>ACCT</a:t>
            </a:r>
          </a:p>
        </p:txBody>
      </p:sp>
      <p:pic>
        <p:nvPicPr>
          <p:cNvPr id="9" name="Image 5" descr="DSC_2532.jp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56" r="4622"/>
          <a:stretch/>
        </p:blipFill>
        <p:spPr>
          <a:xfrm>
            <a:off x="7809450" y="1275127"/>
            <a:ext cx="3632433" cy="272323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3770852" y="4244316"/>
            <a:ext cx="400154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4 rod RFQ </a:t>
            </a:r>
          </a:p>
          <a:p>
            <a:r>
              <a:rPr lang="en-US" dirty="0"/>
              <a:t> up to 160kW</a:t>
            </a:r>
          </a:p>
        </p:txBody>
      </p:sp>
      <p:sp>
        <p:nvSpPr>
          <p:cNvPr id="11" name="Rectangle 10"/>
          <p:cNvSpPr/>
          <p:nvPr/>
        </p:nvSpPr>
        <p:spPr>
          <a:xfrm>
            <a:off x="7916412" y="4193462"/>
            <a:ext cx="40015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/>
              <a:t>Rebunching</a:t>
            </a:r>
            <a:r>
              <a:rPr lang="en-US" dirty="0"/>
              <a:t> section</a:t>
            </a:r>
          </a:p>
        </p:txBody>
      </p:sp>
    </p:spTree>
    <p:extLst>
      <p:ext uri="{BB962C8B-B14F-4D97-AF65-F5344CB8AC3E}">
        <p14:creationId xmlns:p14="http://schemas.microsoft.com/office/powerpoint/2010/main" val="10671878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jector </a:t>
            </a:r>
            <a:r>
              <a:rPr lang="en-US" dirty="0" err="1"/>
              <a:t>Teststand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/>
              <a:t>Source:</a:t>
            </a:r>
            <a:endParaRPr lang="nl-BE" dirty="0"/>
          </a:p>
        </p:txBody>
      </p:sp>
      <p:pic>
        <p:nvPicPr>
          <p:cNvPr id="9" name="Picture 1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1134" y="1057655"/>
            <a:ext cx="4720020" cy="3523445"/>
          </a:xfrm>
          <a:prstGeom prst="rect">
            <a:avLst/>
          </a:prstGeom>
        </p:spPr>
      </p:pic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1023212" y="1057655"/>
            <a:ext cx="4230848" cy="2465721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RFQ commissioned with 95% transmission in nominal conditions</a:t>
            </a:r>
          </a:p>
          <a:p>
            <a:endParaRPr lang="en-US" dirty="0"/>
          </a:p>
        </p:txBody>
      </p:sp>
      <p:sp>
        <p:nvSpPr>
          <p:cNvPr id="6" name="Text Placeholder 19"/>
          <p:cNvSpPr txBox="1">
            <a:spLocks/>
          </p:cNvSpPr>
          <p:nvPr/>
        </p:nvSpPr>
        <p:spPr>
          <a:xfrm>
            <a:off x="319930" y="3279225"/>
            <a:ext cx="5837125" cy="6421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55600" indent="-2667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23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6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29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Ø"/>
            </a:pPr>
            <a:r>
              <a:rPr lang="en-US" b="1" i="1" dirty="0"/>
              <a:t>Nominal energy : 1.494 ± 0.003 MeV</a:t>
            </a:r>
          </a:p>
        </p:txBody>
      </p:sp>
      <p:pic>
        <p:nvPicPr>
          <p:cNvPr id="7" name="Picture 6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109" y="3846670"/>
            <a:ext cx="3595925" cy="2462836"/>
          </a:xfrm>
          <a:prstGeom prst="rect">
            <a:avLst/>
          </a:prstGeom>
        </p:spPr>
      </p:pic>
      <p:pic>
        <p:nvPicPr>
          <p:cNvPr id="8" name="Picture 7"/>
          <p:cNvPicPr/>
          <p:nvPr/>
        </p:nvPicPr>
        <p:blipFill>
          <a:blip r:embed="rId4" cstate="print"/>
          <a:srcRect b="29138"/>
          <a:stretch>
            <a:fillRect/>
          </a:stretch>
        </p:blipFill>
        <p:spPr bwMode="auto">
          <a:xfrm>
            <a:off x="6324212" y="4581100"/>
            <a:ext cx="4950591" cy="11611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23264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Rounded Rectangle 81"/>
          <p:cNvSpPr/>
          <p:nvPr/>
        </p:nvSpPr>
        <p:spPr bwMode="auto">
          <a:xfrm>
            <a:off x="3033129" y="1875581"/>
            <a:ext cx="877587" cy="1744473"/>
          </a:xfrm>
          <a:prstGeom prst="roundRect">
            <a:avLst/>
          </a:prstGeom>
          <a:solidFill>
            <a:srgbClr val="96D9FF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 pitchFamily="-109" charset="-128"/>
              <a:cs typeface="+mn-cs"/>
            </a:endParaRPr>
          </a:p>
        </p:txBody>
      </p:sp>
      <p:sp>
        <p:nvSpPr>
          <p:cNvPr id="83" name="Rounded Rectangle 82"/>
          <p:cNvSpPr/>
          <p:nvPr/>
        </p:nvSpPr>
        <p:spPr bwMode="auto">
          <a:xfrm>
            <a:off x="7225232" y="2273348"/>
            <a:ext cx="3740448" cy="1223629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 pitchFamily="-109" charset="-128"/>
              <a:cs typeface="+mn-cs"/>
            </a:endParaRPr>
          </a:p>
        </p:txBody>
      </p:sp>
      <p:sp>
        <p:nvSpPr>
          <p:cNvPr id="84" name="Rounded Rectangle 40"/>
          <p:cNvSpPr>
            <a:spLocks noChangeArrowheads="1"/>
          </p:cNvSpPr>
          <p:nvPr/>
        </p:nvSpPr>
        <p:spPr bwMode="auto">
          <a:xfrm>
            <a:off x="8101036" y="2330427"/>
            <a:ext cx="2773675" cy="1125525"/>
          </a:xfrm>
          <a:prstGeom prst="roundRect">
            <a:avLst>
              <a:gd name="adj" fmla="val 6778"/>
            </a:avLst>
          </a:prstGeom>
          <a:solidFill>
            <a:srgbClr val="3E8F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85" name="Oval 84"/>
          <p:cNvSpPr/>
          <p:nvPr/>
        </p:nvSpPr>
        <p:spPr bwMode="auto">
          <a:xfrm>
            <a:off x="3088425" y="1907689"/>
            <a:ext cx="768780" cy="740241"/>
          </a:xfrm>
          <a:prstGeom prst="ellipse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ＭＳ Ｐゴシック" pitchFamily="-109" charset="-128"/>
                <a:cs typeface="+mn-cs"/>
              </a:rPr>
              <a:t>U</a:t>
            </a:r>
            <a:r>
              <a:rPr kumimoji="0" lang="fr-BE" sz="15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ＭＳ Ｐゴシック" pitchFamily="-109" charset="-128"/>
                <a:cs typeface="+mn-cs"/>
              </a:rPr>
              <a:t>235</a:t>
            </a:r>
          </a:p>
        </p:txBody>
      </p:sp>
      <p:sp>
        <p:nvSpPr>
          <p:cNvPr id="86" name="Oval 6"/>
          <p:cNvSpPr>
            <a:spLocks noChangeArrowheads="1"/>
          </p:cNvSpPr>
          <p:nvPr/>
        </p:nvSpPr>
        <p:spPr bwMode="auto">
          <a:xfrm>
            <a:off x="2244295" y="2581932"/>
            <a:ext cx="269340" cy="271125"/>
          </a:xfrm>
          <a:prstGeom prst="ellipse">
            <a:avLst/>
          </a:prstGeom>
          <a:solidFill>
            <a:srgbClr val="FFFF00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</a:t>
            </a:r>
            <a:endParaRPr kumimoji="0" lang="en-US" sz="1200" b="1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7" name="Oval 86"/>
          <p:cNvSpPr/>
          <p:nvPr/>
        </p:nvSpPr>
        <p:spPr bwMode="auto">
          <a:xfrm>
            <a:off x="7266258" y="2583716"/>
            <a:ext cx="806239" cy="795537"/>
          </a:xfrm>
          <a:prstGeom prst="ellipse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ＭＳ Ｐゴシック" pitchFamily="-109" charset="-128"/>
                <a:cs typeface="+mn-cs"/>
              </a:rPr>
              <a:t>Pu</a:t>
            </a:r>
          </a:p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6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 pitchFamily="-109" charset="-128"/>
              <a:cs typeface="+mn-cs"/>
            </a:endParaRPr>
          </a:p>
        </p:txBody>
      </p:sp>
      <p:sp>
        <p:nvSpPr>
          <p:cNvPr id="89" name="Right Arrow 88"/>
          <p:cNvSpPr/>
          <p:nvPr/>
        </p:nvSpPr>
        <p:spPr bwMode="auto">
          <a:xfrm>
            <a:off x="2583200" y="2626525"/>
            <a:ext cx="346040" cy="197993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 pitchFamily="-109" charset="-128"/>
              <a:cs typeface="+mn-cs"/>
            </a:endParaRPr>
          </a:p>
        </p:txBody>
      </p:sp>
      <p:sp>
        <p:nvSpPr>
          <p:cNvPr id="90" name="Right Arrow 89"/>
          <p:cNvSpPr/>
          <p:nvPr/>
        </p:nvSpPr>
        <p:spPr bwMode="auto">
          <a:xfrm>
            <a:off x="4608527" y="2639011"/>
            <a:ext cx="367445" cy="117725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 pitchFamily="-109" charset="-128"/>
              <a:cs typeface="+mn-cs"/>
            </a:endParaRPr>
          </a:p>
        </p:txBody>
      </p:sp>
      <p:sp>
        <p:nvSpPr>
          <p:cNvPr id="91" name="Oval 35"/>
          <p:cNvSpPr>
            <a:spLocks noChangeArrowheads="1"/>
          </p:cNvSpPr>
          <p:nvPr/>
        </p:nvSpPr>
        <p:spPr bwMode="auto">
          <a:xfrm>
            <a:off x="8149198" y="2564095"/>
            <a:ext cx="857967" cy="834779"/>
          </a:xfrm>
          <a:prstGeom prst="ellipse">
            <a:avLst/>
          </a:prstGeom>
          <a:solidFill>
            <a:srgbClr val="FF0000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p</a:t>
            </a:r>
            <a:endParaRPr kumimoji="0" lang="fr-BE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600" b="1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2" name="Oval 36"/>
          <p:cNvSpPr>
            <a:spLocks noChangeArrowheads="1"/>
          </p:cNvSpPr>
          <p:nvPr/>
        </p:nvSpPr>
        <p:spPr bwMode="auto">
          <a:xfrm>
            <a:off x="9051755" y="2564095"/>
            <a:ext cx="840131" cy="834779"/>
          </a:xfrm>
          <a:prstGeom prst="ellipse">
            <a:avLst/>
          </a:prstGeom>
          <a:solidFill>
            <a:srgbClr val="FF0000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m</a:t>
            </a:r>
          </a:p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600" b="1" i="0" u="none" strike="noStrike" kern="120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3" name="Oval 37"/>
          <p:cNvSpPr>
            <a:spLocks noChangeArrowheads="1"/>
          </p:cNvSpPr>
          <p:nvPr/>
        </p:nvSpPr>
        <p:spPr bwMode="auto">
          <a:xfrm>
            <a:off x="9938261" y="2562308"/>
            <a:ext cx="845480" cy="838347"/>
          </a:xfrm>
          <a:prstGeom prst="ellipse">
            <a:avLst/>
          </a:prstGeom>
          <a:solidFill>
            <a:srgbClr val="FF0000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m</a:t>
            </a:r>
          </a:p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600" b="1" i="0" u="none" strike="noStrike" kern="120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4" name="TextBox 42"/>
          <p:cNvSpPr txBox="1">
            <a:spLocks noChangeArrowheads="1"/>
          </p:cNvSpPr>
          <p:nvPr/>
        </p:nvSpPr>
        <p:spPr bwMode="auto">
          <a:xfrm>
            <a:off x="7198479" y="2294753"/>
            <a:ext cx="98937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bg2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bg2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9pPr>
          </a:lstStyle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4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t>Actinide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6666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  <p:sp>
        <p:nvSpPr>
          <p:cNvPr id="95" name="TextBox 43"/>
          <p:cNvSpPr txBox="1">
            <a:spLocks noChangeArrowheads="1"/>
          </p:cNvSpPr>
          <p:nvPr/>
        </p:nvSpPr>
        <p:spPr bwMode="auto">
          <a:xfrm>
            <a:off x="8713753" y="2276916"/>
            <a:ext cx="151971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bg2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bg2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9pPr>
          </a:lstStyle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t>Minor Actinides</a:t>
            </a:r>
          </a:p>
        </p:txBody>
      </p:sp>
      <p:sp>
        <p:nvSpPr>
          <p:cNvPr id="96" name="TextBox 30"/>
          <p:cNvSpPr txBox="1">
            <a:spLocks noChangeArrowheads="1"/>
          </p:cNvSpPr>
          <p:nvPr/>
        </p:nvSpPr>
        <p:spPr bwMode="auto">
          <a:xfrm>
            <a:off x="1960685" y="2819164"/>
            <a:ext cx="82942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400">
                <a:solidFill>
                  <a:schemeClr val="bg2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bg2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9pPr>
          </a:lstStyle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400" b="0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t>Neutro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6666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  <p:sp>
        <p:nvSpPr>
          <p:cNvPr id="97" name="TextBox 35"/>
          <p:cNvSpPr txBox="1">
            <a:spLocks noChangeArrowheads="1"/>
          </p:cNvSpPr>
          <p:nvPr/>
        </p:nvSpPr>
        <p:spPr bwMode="auto">
          <a:xfrm>
            <a:off x="3056317" y="2569445"/>
            <a:ext cx="97925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400">
                <a:solidFill>
                  <a:schemeClr val="bg2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bg2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9pPr>
          </a:lstStyle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200" b="0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t>Uranium</a:t>
            </a:r>
            <a:endParaRPr kumimoji="0" lang="en-US" sz="1200" b="0" i="0" u="none" strike="noStrike" kern="1200" cap="none" spc="0" normalizeH="0" baseline="30000" noProof="0" dirty="0">
              <a:ln>
                <a:noFill/>
              </a:ln>
              <a:solidFill>
                <a:srgbClr val="006666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  <p:sp>
        <p:nvSpPr>
          <p:cNvPr id="98" name="TextBox 36"/>
          <p:cNvSpPr txBox="1">
            <a:spLocks noChangeArrowheads="1"/>
          </p:cNvSpPr>
          <p:nvPr/>
        </p:nvSpPr>
        <p:spPr bwMode="auto">
          <a:xfrm>
            <a:off x="3841153" y="2567660"/>
            <a:ext cx="88828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400">
                <a:solidFill>
                  <a:schemeClr val="bg2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bg2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9pPr>
          </a:lstStyle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400" b="1" i="0" u="none" strike="noStrike" kern="1200" cap="none" spc="0" normalizeH="0" baseline="0" noProof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t>Fission</a:t>
            </a:r>
          </a:p>
        </p:txBody>
      </p:sp>
      <p:sp>
        <p:nvSpPr>
          <p:cNvPr id="99" name="TextBox 33"/>
          <p:cNvSpPr txBox="1">
            <a:spLocks noChangeArrowheads="1"/>
          </p:cNvSpPr>
          <p:nvPr/>
        </p:nvSpPr>
        <p:spPr bwMode="auto">
          <a:xfrm>
            <a:off x="3195450" y="1544621"/>
            <a:ext cx="59754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400">
                <a:solidFill>
                  <a:schemeClr val="bg2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bg2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9pPr>
          </a:lstStyle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4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t>Fuel</a:t>
            </a:r>
          </a:p>
        </p:txBody>
      </p:sp>
      <p:sp>
        <p:nvSpPr>
          <p:cNvPr id="101" name="Oval 100"/>
          <p:cNvSpPr/>
          <p:nvPr/>
        </p:nvSpPr>
        <p:spPr bwMode="auto">
          <a:xfrm>
            <a:off x="3099127" y="2828085"/>
            <a:ext cx="768780" cy="740241"/>
          </a:xfrm>
          <a:prstGeom prst="ellipse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5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ＭＳ Ｐゴシック" pitchFamily="-109" charset="-128"/>
                <a:cs typeface="+mn-cs"/>
              </a:rPr>
              <a:t>U</a:t>
            </a:r>
            <a:r>
              <a:rPr kumimoji="0" lang="fr-BE" sz="1500" b="1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ＭＳ Ｐゴシック" pitchFamily="-109" charset="-128"/>
                <a:cs typeface="+mn-cs"/>
              </a:rPr>
              <a:t>238</a:t>
            </a:r>
          </a:p>
        </p:txBody>
      </p:sp>
      <p:sp>
        <p:nvSpPr>
          <p:cNvPr id="102" name="Oval 44"/>
          <p:cNvSpPr>
            <a:spLocks noChangeArrowheads="1"/>
          </p:cNvSpPr>
          <p:nvPr/>
        </p:nvSpPr>
        <p:spPr bwMode="auto">
          <a:xfrm>
            <a:off x="5225691" y="2539123"/>
            <a:ext cx="271124" cy="271125"/>
          </a:xfrm>
          <a:prstGeom prst="ellipse">
            <a:avLst/>
          </a:prstGeom>
          <a:solidFill>
            <a:srgbClr val="FFFF00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</a:t>
            </a:r>
            <a:endParaRPr kumimoji="0" lang="en-US" sz="1200" b="1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3" name="Oval 45"/>
          <p:cNvSpPr>
            <a:spLocks noChangeArrowheads="1"/>
          </p:cNvSpPr>
          <p:nvPr/>
        </p:nvSpPr>
        <p:spPr bwMode="auto">
          <a:xfrm>
            <a:off x="5202503" y="2144920"/>
            <a:ext cx="269341" cy="271125"/>
          </a:xfrm>
          <a:prstGeom prst="ellipse">
            <a:avLst/>
          </a:prstGeom>
          <a:solidFill>
            <a:srgbClr val="FFFF00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</a:t>
            </a:r>
            <a:endParaRPr kumimoji="0" lang="en-US" sz="1200" b="1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4" name="Oval 46"/>
          <p:cNvSpPr>
            <a:spLocks noChangeArrowheads="1"/>
          </p:cNvSpPr>
          <p:nvPr/>
        </p:nvSpPr>
        <p:spPr bwMode="auto">
          <a:xfrm>
            <a:off x="5227475" y="2847704"/>
            <a:ext cx="269341" cy="271125"/>
          </a:xfrm>
          <a:prstGeom prst="ellipse">
            <a:avLst/>
          </a:prstGeom>
          <a:solidFill>
            <a:srgbClr val="FFFF00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</a:t>
            </a:r>
            <a:endParaRPr kumimoji="0" lang="en-US" sz="1200" b="1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5" name="Oval 104"/>
          <p:cNvSpPr/>
          <p:nvPr/>
        </p:nvSpPr>
        <p:spPr bwMode="auto">
          <a:xfrm>
            <a:off x="5896367" y="1615158"/>
            <a:ext cx="768780" cy="740241"/>
          </a:xfrm>
          <a:prstGeom prst="ellipse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5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ＭＳ Ｐゴシック" pitchFamily="-109" charset="-128"/>
                <a:cs typeface="+mn-cs"/>
              </a:rPr>
              <a:t>U</a:t>
            </a:r>
            <a:r>
              <a:rPr kumimoji="0" lang="fr-BE" sz="1500" b="1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ＭＳ Ｐゴシック" pitchFamily="-109" charset="-128"/>
                <a:cs typeface="+mn-cs"/>
              </a:rPr>
              <a:t>235</a:t>
            </a:r>
          </a:p>
        </p:txBody>
      </p:sp>
      <p:sp>
        <p:nvSpPr>
          <p:cNvPr id="106" name="Oval 105"/>
          <p:cNvSpPr/>
          <p:nvPr/>
        </p:nvSpPr>
        <p:spPr bwMode="auto">
          <a:xfrm>
            <a:off x="5933826" y="2630089"/>
            <a:ext cx="768781" cy="740243"/>
          </a:xfrm>
          <a:prstGeom prst="ellipse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5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ＭＳ Ｐゴシック" pitchFamily="-109" charset="-128"/>
                <a:cs typeface="+mn-cs"/>
              </a:rPr>
              <a:t>U</a:t>
            </a:r>
            <a:r>
              <a:rPr kumimoji="0" lang="fr-BE" sz="1500" b="1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ＭＳ Ｐゴシック" pitchFamily="-109" charset="-128"/>
                <a:cs typeface="+mn-cs"/>
              </a:rPr>
              <a:t>238</a:t>
            </a:r>
          </a:p>
        </p:txBody>
      </p:sp>
      <p:sp>
        <p:nvSpPr>
          <p:cNvPr id="107" name="Right Arrow 106"/>
          <p:cNvSpPr/>
          <p:nvPr/>
        </p:nvSpPr>
        <p:spPr bwMode="auto">
          <a:xfrm rot="18454178">
            <a:off x="4539854" y="2215378"/>
            <a:ext cx="367445" cy="119509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 pitchFamily="-109" charset="-128"/>
              <a:cs typeface="+mn-cs"/>
            </a:endParaRPr>
          </a:p>
        </p:txBody>
      </p:sp>
      <p:sp>
        <p:nvSpPr>
          <p:cNvPr id="108" name="Right Arrow 107"/>
          <p:cNvSpPr/>
          <p:nvPr/>
        </p:nvSpPr>
        <p:spPr bwMode="auto">
          <a:xfrm rot="20154555">
            <a:off x="4612095" y="2392857"/>
            <a:ext cx="365661" cy="119508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 pitchFamily="-109" charset="-128"/>
              <a:cs typeface="+mn-cs"/>
            </a:endParaRPr>
          </a:p>
        </p:txBody>
      </p:sp>
      <p:sp>
        <p:nvSpPr>
          <p:cNvPr id="109" name="Right Arrow 108"/>
          <p:cNvSpPr/>
          <p:nvPr/>
        </p:nvSpPr>
        <p:spPr bwMode="auto">
          <a:xfrm rot="530987">
            <a:off x="4608527" y="2812030"/>
            <a:ext cx="367445" cy="117725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 pitchFamily="-109" charset="-128"/>
              <a:cs typeface="+mn-cs"/>
            </a:endParaRPr>
          </a:p>
        </p:txBody>
      </p:sp>
      <p:sp>
        <p:nvSpPr>
          <p:cNvPr id="110" name="Right Arrow 109"/>
          <p:cNvSpPr/>
          <p:nvPr/>
        </p:nvSpPr>
        <p:spPr bwMode="auto">
          <a:xfrm rot="2618217">
            <a:off x="4519342" y="3002887"/>
            <a:ext cx="367445" cy="119508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 pitchFamily="-109" charset="-128"/>
              <a:cs typeface="+mn-cs"/>
            </a:endParaRPr>
          </a:p>
        </p:txBody>
      </p:sp>
      <p:sp>
        <p:nvSpPr>
          <p:cNvPr id="111" name="Right Arrow 110"/>
          <p:cNvSpPr/>
          <p:nvPr/>
        </p:nvSpPr>
        <p:spPr bwMode="auto">
          <a:xfrm rot="20830524">
            <a:off x="5511086" y="2132435"/>
            <a:ext cx="367445" cy="119508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 pitchFamily="-109" charset="-128"/>
              <a:cs typeface="+mn-cs"/>
            </a:endParaRPr>
          </a:p>
        </p:txBody>
      </p:sp>
      <p:sp>
        <p:nvSpPr>
          <p:cNvPr id="112" name="Right Arrow 111"/>
          <p:cNvSpPr/>
          <p:nvPr/>
        </p:nvSpPr>
        <p:spPr bwMode="auto">
          <a:xfrm>
            <a:off x="5530707" y="2919052"/>
            <a:ext cx="367445" cy="119509"/>
          </a:xfrm>
          <a:prstGeom prst="rightArrow">
            <a:avLst/>
          </a:prstGeom>
          <a:solidFill>
            <a:schemeClr val="bg2">
              <a:lumMod val="75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 pitchFamily="-109" charset="-128"/>
              <a:cs typeface="+mn-cs"/>
            </a:endParaRPr>
          </a:p>
        </p:txBody>
      </p:sp>
      <p:sp>
        <p:nvSpPr>
          <p:cNvPr id="113" name="Right Arrow 112"/>
          <p:cNvSpPr/>
          <p:nvPr/>
        </p:nvSpPr>
        <p:spPr bwMode="auto">
          <a:xfrm>
            <a:off x="6770388" y="2919052"/>
            <a:ext cx="367445" cy="117725"/>
          </a:xfrm>
          <a:prstGeom prst="rightArrow">
            <a:avLst/>
          </a:prstGeom>
          <a:solidFill>
            <a:schemeClr val="bg2">
              <a:lumMod val="75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 pitchFamily="-109" charset="-128"/>
              <a:cs typeface="+mn-cs"/>
            </a:endParaRPr>
          </a:p>
        </p:txBody>
      </p:sp>
      <p:sp>
        <p:nvSpPr>
          <p:cNvPr id="114" name="Rectangle 58"/>
          <p:cNvSpPr>
            <a:spLocks noChangeArrowheads="1"/>
          </p:cNvSpPr>
          <p:nvPr/>
        </p:nvSpPr>
        <p:spPr bwMode="auto">
          <a:xfrm>
            <a:off x="7258416" y="3061750"/>
            <a:ext cx="855812" cy="256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lutonium</a:t>
            </a:r>
            <a:endParaRPr kumimoji="0" lang="en-US" sz="16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5" name="Rectangle 59"/>
          <p:cNvSpPr>
            <a:spLocks noChangeArrowheads="1"/>
          </p:cNvSpPr>
          <p:nvPr/>
        </p:nvSpPr>
        <p:spPr bwMode="auto">
          <a:xfrm>
            <a:off x="8122237" y="3061750"/>
            <a:ext cx="917238" cy="256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6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eptunium</a:t>
            </a:r>
            <a:endParaRPr kumimoji="0" lang="en-US" sz="1600" b="1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6" name="Rectangle 60"/>
          <p:cNvSpPr>
            <a:spLocks noChangeArrowheads="1"/>
          </p:cNvSpPr>
          <p:nvPr/>
        </p:nvSpPr>
        <p:spPr bwMode="auto">
          <a:xfrm>
            <a:off x="9025001" y="3061750"/>
            <a:ext cx="904343" cy="256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600" b="1" i="0" u="none" strike="noStrike" kern="1200" cap="none" spc="0" normalizeH="0" baseline="3000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mericium</a:t>
            </a:r>
            <a:endParaRPr kumimoji="0" lang="en-US" sz="1600" b="1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7" name="Rectangle 61"/>
          <p:cNvSpPr>
            <a:spLocks noChangeArrowheads="1"/>
          </p:cNvSpPr>
          <p:nvPr/>
        </p:nvSpPr>
        <p:spPr bwMode="auto">
          <a:xfrm>
            <a:off x="10050635" y="3061750"/>
            <a:ext cx="676028" cy="256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6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urium</a:t>
            </a:r>
            <a:endParaRPr kumimoji="0" lang="en-US" sz="1600" b="1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2" name="Footer Placeholder 5"/>
          <p:cNvSpPr txBox="1">
            <a:spLocks/>
          </p:cNvSpPr>
          <p:nvPr/>
        </p:nvSpPr>
        <p:spPr>
          <a:xfrm>
            <a:off x="1571499" y="6355125"/>
            <a:ext cx="8053200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ource: </a:t>
            </a:r>
            <a:r>
              <a:rPr kumimoji="0" lang="en-US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CK•CEN</a:t>
            </a: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nl-BE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YRRHA</a:t>
            </a:r>
            <a:r>
              <a:rPr kumimoji="0" lang="nl-BE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Project Team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ission generates high-level radioactive waste</a:t>
            </a:r>
          </a:p>
        </p:txBody>
      </p:sp>
      <p:sp>
        <p:nvSpPr>
          <p:cNvPr id="59" name="Oval 42"/>
          <p:cNvSpPr>
            <a:spLocks noChangeAspect="1"/>
          </p:cNvSpPr>
          <p:nvPr/>
        </p:nvSpPr>
        <p:spPr bwMode="auto">
          <a:xfrm>
            <a:off x="4881942" y="1464720"/>
            <a:ext cx="506575" cy="485171"/>
          </a:xfrm>
          <a:prstGeom prst="ellipse">
            <a:avLst/>
          </a:prstGeom>
          <a:solidFill>
            <a:srgbClr val="FFC000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anchor="ctr" anchorCtr="0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3000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P</a:t>
            </a:r>
            <a:endParaRPr kumimoji="0" lang="fr-FR" sz="14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0" name="Oval 42"/>
          <p:cNvSpPr>
            <a:spLocks noChangeAspect="1"/>
          </p:cNvSpPr>
          <p:nvPr/>
        </p:nvSpPr>
        <p:spPr bwMode="auto">
          <a:xfrm>
            <a:off x="4881942" y="3359872"/>
            <a:ext cx="506575" cy="485171"/>
          </a:xfrm>
          <a:prstGeom prst="ellipse">
            <a:avLst/>
          </a:prstGeom>
          <a:solidFill>
            <a:srgbClr val="FFC000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anchor="ctr" anchorCtr="0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3000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P</a:t>
            </a:r>
            <a:endParaRPr kumimoji="0" lang="fr-FR" sz="14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029368" y="4625146"/>
            <a:ext cx="655303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fter 4,5 years the spent nuclear fuel contains:</a:t>
            </a:r>
          </a:p>
          <a:p>
            <a:pPr marL="879311" marR="0" lvl="1" indent="-342891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94,7% of resources we can recycle (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U+Pu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)</a:t>
            </a:r>
          </a:p>
          <a:p>
            <a:pPr marL="879311" marR="0" lvl="1" indent="-342891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5,1% of nuclear waste with low radiotoxicity (FP’s) </a:t>
            </a:r>
          </a:p>
          <a:p>
            <a:pPr marL="879311" marR="0" lvl="1" indent="-342891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366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0,2% of high radiotoxicity nuclear waste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98C3E4">
                  <a:lumMod val="75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771292" y="4432990"/>
            <a:ext cx="3448675" cy="1477328"/>
          </a:xfrm>
          <a:prstGeom prst="rect">
            <a:avLst/>
          </a:prstGeom>
          <a:noFill/>
          <a:ln w="25400" cap="rnd">
            <a:solidFill>
              <a:srgbClr val="0070C0"/>
            </a:solidFill>
            <a:round/>
          </a:ln>
        </p:spPr>
        <p:txBody>
          <a:bodyPr wrap="square" rtlCol="0">
            <a:spAutoFit/>
          </a:bodyPr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 ton of nuclear fuel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used 4,5 year in commercial PWR reactor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produces electricity for 100,000 families per yea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(3500 kWh/y per family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98C3E4">
                  <a:lumMod val="75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186220" y="5001408"/>
            <a:ext cx="66717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  <a:sym typeface="Wingdings" panose="05000000000000000000" pitchFamily="2" charset="2"/>
              </a:rPr>
              <a:t>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7620462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029" y="3764792"/>
            <a:ext cx="4328329" cy="2784078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5"/>
          </p:nvPr>
        </p:nvSpPr>
        <p:spPr>
          <a:xfrm>
            <a:off x="182868" y="803646"/>
            <a:ext cx="11633530" cy="2847978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Optics &amp; layout “classic high-power SC-linac-style”: </a:t>
            </a:r>
          </a:p>
          <a:p>
            <a:pPr lvl="1"/>
            <a:r>
              <a:rPr lang="en-US" dirty="0"/>
              <a:t>30 </a:t>
            </a:r>
            <a:r>
              <a:rPr lang="en-US" dirty="0" err="1"/>
              <a:t>cryo</a:t>
            </a:r>
            <a:r>
              <a:rPr lang="en-US" dirty="0"/>
              <a:t> modules with each 2 single spoke cavities (352.2 MHz, β = 0.352)</a:t>
            </a:r>
          </a:p>
          <a:p>
            <a:pPr lvl="1"/>
            <a:r>
              <a:rPr lang="en-US" dirty="0"/>
              <a:t>Warm section with doublet &amp; diagnostic</a:t>
            </a:r>
          </a:p>
          <a:p>
            <a:pPr lvl="1"/>
            <a:r>
              <a:rPr lang="en-US" dirty="0"/>
              <a:t>BPM &amp; correctors integrated into quadrupoles</a:t>
            </a:r>
          </a:p>
          <a:p>
            <a:r>
              <a:rPr lang="en-US" dirty="0"/>
              <a:t>Last doublet used to match into “HEBT”</a:t>
            </a:r>
          </a:p>
          <a:p>
            <a:r>
              <a:rPr lang="en-US" dirty="0"/>
              <a:t>Significant RF-overhead for serial fault tolerance</a:t>
            </a:r>
          </a:p>
          <a:p>
            <a:r>
              <a:rPr lang="en-US" dirty="0"/>
              <a:t>Matching optimization still ongoing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814E660-BF25-4843-B2A0-93C6E2B6253B}" type="slidenum">
              <a:rPr lang="en-BE" smtClean="0"/>
              <a:pPr/>
              <a:t>20</a:t>
            </a:fld>
            <a:endParaRPr lang="en-B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SC-linac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5000" y="3856921"/>
            <a:ext cx="5165018" cy="2805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65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80" y="97852"/>
            <a:ext cx="12192000" cy="554181"/>
          </a:xfrm>
        </p:spPr>
        <p:txBody>
          <a:bodyPr/>
          <a:lstStyle/>
          <a:p>
            <a:pPr algn="ctr"/>
            <a:r>
              <a:rPr lang="en-US" dirty="0"/>
              <a:t>Series production of SC cavities (CAV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814E660-BF25-4843-B2A0-93C6E2B6253B}" type="slidenum">
              <a:rPr lang="en-BE" smtClean="0"/>
              <a:pPr/>
              <a:t>21</a:t>
            </a:fld>
            <a:endParaRPr lang="en-BE" dirty="0"/>
          </a:p>
        </p:txBody>
      </p:sp>
      <p:sp>
        <p:nvSpPr>
          <p:cNvPr id="26" name="Text Placeholder 14"/>
          <p:cNvSpPr txBox="1">
            <a:spLocks/>
          </p:cNvSpPr>
          <p:nvPr/>
        </p:nvSpPr>
        <p:spPr>
          <a:xfrm>
            <a:off x="-38793" y="600183"/>
            <a:ext cx="12178220" cy="5063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55600" indent="-2667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23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6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29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2000" dirty="0">
              <a:sym typeface="Wingdings" panose="05000000000000000000" pitchFamily="2" charset="2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3520" y="2344716"/>
            <a:ext cx="3020903" cy="2760216"/>
          </a:xfrm>
          <a:prstGeom prst="rect">
            <a:avLst/>
          </a:prstGeom>
        </p:spPr>
      </p:pic>
      <p:pic>
        <p:nvPicPr>
          <p:cNvPr id="1026" name="Picture 8" descr="image00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5267" y="2421466"/>
            <a:ext cx="3085228" cy="2683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14"/>
          <p:cNvSpPr txBox="1">
            <a:spLocks/>
          </p:cNvSpPr>
          <p:nvPr/>
        </p:nvSpPr>
        <p:spPr>
          <a:xfrm>
            <a:off x="138471" y="886847"/>
            <a:ext cx="12067309" cy="5370970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355600" indent="-2667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23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6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29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600" dirty="0">
                <a:sym typeface="Wingdings" panose="05000000000000000000" pitchFamily="2" charset="2"/>
              </a:rPr>
              <a:t>cavity welded successfully</a:t>
            </a:r>
          </a:p>
          <a:p>
            <a:r>
              <a:rPr lang="en-GB" sz="2600" dirty="0">
                <a:sym typeface="Wingdings" panose="05000000000000000000" pitchFamily="2" charset="2"/>
              </a:rPr>
              <a:t>Integrated into He tank</a:t>
            </a:r>
          </a:p>
          <a:p>
            <a:pPr lvl="1"/>
            <a:r>
              <a:rPr lang="en-GB" sz="2000" dirty="0">
                <a:sym typeface="Wingdings" panose="05000000000000000000" pitchFamily="2" charset="2"/>
              </a:rPr>
              <a:t>Leak test OK</a:t>
            </a:r>
          </a:p>
          <a:p>
            <a:pPr lvl="1"/>
            <a:r>
              <a:rPr lang="en-US" sz="2000" dirty="0">
                <a:sym typeface="Wingdings" panose="05000000000000000000" pitchFamily="2" charset="2"/>
              </a:rPr>
              <a:t>RF frequency after welding within tolerance</a:t>
            </a:r>
          </a:p>
          <a:p>
            <a:pPr lvl="1"/>
            <a:endParaRPr lang="en-US" sz="2000" dirty="0">
              <a:sym typeface="Wingdings" panose="05000000000000000000" pitchFamily="2" charset="2"/>
            </a:endParaRPr>
          </a:p>
          <a:p>
            <a:pPr lvl="1"/>
            <a:endParaRPr lang="en-US" sz="2000" dirty="0">
              <a:sym typeface="Wingdings" panose="05000000000000000000" pitchFamily="2" charset="2"/>
            </a:endParaRPr>
          </a:p>
          <a:p>
            <a:pPr lvl="1"/>
            <a:endParaRPr lang="en-US" sz="2000" dirty="0">
              <a:sym typeface="Wingdings" panose="05000000000000000000" pitchFamily="2" charset="2"/>
            </a:endParaRPr>
          </a:p>
          <a:p>
            <a:pPr lvl="1"/>
            <a:endParaRPr lang="en-US" sz="2000" dirty="0">
              <a:sym typeface="Wingdings" panose="05000000000000000000" pitchFamily="2" charset="2"/>
            </a:endParaRPr>
          </a:p>
          <a:p>
            <a:pPr lvl="1"/>
            <a:endParaRPr lang="en-US" sz="2000" dirty="0">
              <a:sym typeface="Wingdings" panose="05000000000000000000" pitchFamily="2" charset="2"/>
            </a:endParaRPr>
          </a:p>
          <a:p>
            <a:pPr lvl="1"/>
            <a:endParaRPr lang="en-US" sz="2000" dirty="0">
              <a:sym typeface="Wingdings" panose="05000000000000000000" pitchFamily="2" charset="2"/>
            </a:endParaRPr>
          </a:p>
          <a:p>
            <a:pPr lvl="1"/>
            <a:endParaRPr lang="en-US" sz="2000" dirty="0">
              <a:sym typeface="Wingdings" panose="05000000000000000000" pitchFamily="2" charset="2"/>
            </a:endParaRPr>
          </a:p>
          <a:p>
            <a:pPr lvl="1"/>
            <a:endParaRPr lang="en-US" sz="2000" dirty="0">
              <a:sym typeface="Wingdings" panose="05000000000000000000" pitchFamily="2" charset="2"/>
            </a:endParaRPr>
          </a:p>
          <a:p>
            <a:pPr lvl="1"/>
            <a:endParaRPr lang="en-US" sz="2000" dirty="0">
              <a:sym typeface="Wingdings" panose="05000000000000000000" pitchFamily="2" charset="2"/>
            </a:endParaRPr>
          </a:p>
          <a:p>
            <a:pPr lvl="1"/>
            <a:endParaRPr lang="en-US" sz="2000" dirty="0">
              <a:sym typeface="Wingdings" panose="05000000000000000000" pitchFamily="2" charset="2"/>
            </a:endParaRPr>
          </a:p>
          <a:p>
            <a:r>
              <a:rPr lang="en-US" sz="2600" b="1" dirty="0">
                <a:solidFill>
                  <a:srgbClr val="00B050"/>
                </a:solidFill>
                <a:sym typeface="Wingdings" panose="05000000000000000000" pitchFamily="2" charset="2"/>
              </a:rPr>
              <a:t>First series cavities successfully tested for </a:t>
            </a:r>
            <a:r>
              <a:rPr lang="en-US" sz="2600" b="1" dirty="0" err="1">
                <a:solidFill>
                  <a:srgbClr val="00B050"/>
                </a:solidFill>
                <a:sym typeface="Wingdings" panose="05000000000000000000" pitchFamily="2" charset="2"/>
              </a:rPr>
              <a:t>E</a:t>
            </a:r>
            <a:r>
              <a:rPr lang="en-US" sz="2600" b="1" baseline="-25000" dirty="0" err="1">
                <a:solidFill>
                  <a:srgbClr val="00B050"/>
                </a:solidFill>
                <a:sym typeface="Wingdings" panose="05000000000000000000" pitchFamily="2" charset="2"/>
              </a:rPr>
              <a:t>acc</a:t>
            </a:r>
            <a:r>
              <a:rPr lang="en-US" sz="2600" dirty="0">
                <a:solidFill>
                  <a:srgbClr val="00B050"/>
                </a:solidFill>
                <a:sym typeface="Wingdings" panose="05000000000000000000" pitchFamily="2" charset="2"/>
              </a:rPr>
              <a:t> (January/February 2024) </a:t>
            </a:r>
          </a:p>
          <a:p>
            <a:r>
              <a:rPr lang="en-US" sz="2600" dirty="0">
                <a:solidFill>
                  <a:srgbClr val="00B050"/>
                </a:solidFill>
                <a:sym typeface="Wingdings" panose="05000000000000000000" pitchFamily="2" charset="2"/>
              </a:rPr>
              <a:t>tested at 11 MeV/m exceeding nominal 9 MeV/m</a:t>
            </a:r>
            <a:endParaRPr lang="en-US" sz="2000" dirty="0">
              <a:solidFill>
                <a:srgbClr val="00B050"/>
              </a:solidFill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657906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Design choices</a:t>
            </a:r>
          </a:p>
          <a:p>
            <a:pPr lvl="1"/>
            <a:r>
              <a:rPr lang="en-US" dirty="0"/>
              <a:t>Linear accelerator</a:t>
            </a:r>
          </a:p>
          <a:p>
            <a:pPr lvl="1"/>
            <a:r>
              <a:rPr lang="en-US" dirty="0"/>
              <a:t>Injector: parallel redundancy </a:t>
            </a:r>
          </a:p>
          <a:p>
            <a:pPr lvl="1"/>
            <a:r>
              <a:rPr lang="en-US" dirty="0"/>
              <a:t>SC </a:t>
            </a:r>
            <a:r>
              <a:rPr lang="en-US" dirty="0" err="1"/>
              <a:t>linac</a:t>
            </a:r>
            <a:r>
              <a:rPr lang="en-US" dirty="0"/>
              <a:t>: serial redundancy</a:t>
            </a:r>
          </a:p>
          <a:p>
            <a:pPr lvl="2"/>
            <a:r>
              <a:rPr lang="en-US" dirty="0"/>
              <a:t>installing RF overhead</a:t>
            </a:r>
          </a:p>
          <a:p>
            <a:pPr lvl="2"/>
            <a:r>
              <a:rPr lang="en-US" dirty="0"/>
              <a:t>Fast de-tuning of SC cavities</a:t>
            </a:r>
          </a:p>
          <a:p>
            <a:endParaRPr lang="en-US" dirty="0"/>
          </a:p>
          <a:p>
            <a:r>
              <a:rPr lang="en-US" dirty="0"/>
              <a:t>Reliability model</a:t>
            </a:r>
          </a:p>
          <a:p>
            <a:pPr lvl="1"/>
            <a:r>
              <a:rPr lang="en-US" dirty="0"/>
              <a:t>in collaboration with CERN</a:t>
            </a:r>
          </a:p>
          <a:p>
            <a:pPr lvl="1"/>
            <a:r>
              <a:rPr lang="en-US" dirty="0"/>
              <a:t>using AvailSim4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814E660-BF25-4843-B2A0-93C6E2B6253B}" type="slidenum">
              <a:rPr lang="en-BE" smtClean="0"/>
              <a:pPr/>
              <a:t>22</a:t>
            </a:fld>
            <a:endParaRPr lang="en-B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Reliability </a:t>
            </a:r>
          </a:p>
        </p:txBody>
      </p:sp>
    </p:spTree>
    <p:extLst>
      <p:ext uri="{BB962C8B-B14F-4D97-AF65-F5344CB8AC3E}">
        <p14:creationId xmlns:p14="http://schemas.microsoft.com/office/powerpoint/2010/main" val="237989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Reliability requirement: # beam trips &gt; 3s: Max 10 per 90 days</a:t>
            </a:r>
          </a:p>
          <a:p>
            <a:r>
              <a:rPr lang="en-US" dirty="0"/>
              <a:t>Reliability model done together with CERN as part of the EU-funded PATRICIA collaboration</a:t>
            </a:r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814E660-BF25-4843-B2A0-93C6E2B6253B}" type="slidenum">
              <a:rPr lang="en-BE" smtClean="0"/>
              <a:pPr/>
              <a:t>23</a:t>
            </a:fld>
            <a:endParaRPr lang="en-BE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Reliability approach</a:t>
            </a:r>
          </a:p>
        </p:txBody>
      </p:sp>
      <p:cxnSp>
        <p:nvCxnSpPr>
          <p:cNvPr id="5" name="Straight Arrow Connector 4"/>
          <p:cNvCxnSpPr>
            <a:stCxn id="6" idx="2"/>
            <a:endCxn id="8" idx="0"/>
          </p:cNvCxnSpPr>
          <p:nvPr/>
        </p:nvCxnSpPr>
        <p:spPr>
          <a:xfrm>
            <a:off x="3167992" y="3831154"/>
            <a:ext cx="4764500" cy="1675352"/>
          </a:xfrm>
          <a:prstGeom prst="straightConnector1">
            <a:avLst/>
          </a:prstGeom>
          <a:ln w="381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ounded Rectangle 5"/>
          <p:cNvSpPr/>
          <p:nvPr/>
        </p:nvSpPr>
        <p:spPr>
          <a:xfrm>
            <a:off x="1213667" y="3184978"/>
            <a:ext cx="3908650" cy="64617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/>
              <a:t>MYRRHA reliability requirements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3194867" y="4345742"/>
            <a:ext cx="5064730" cy="64617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ault budget for individual systems, based on existing reliability data from other facilities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5689147" y="5506506"/>
            <a:ext cx="4486690" cy="64617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dentify critical sub-systems and develop fault compensation schemes</a:t>
            </a:r>
          </a:p>
        </p:txBody>
      </p:sp>
    </p:spTree>
    <p:extLst>
      <p:ext uri="{BB962C8B-B14F-4D97-AF65-F5344CB8AC3E}">
        <p14:creationId xmlns:p14="http://schemas.microsoft.com/office/powerpoint/2010/main" val="1030246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814E660-BF25-4843-B2A0-93C6E2B6253B}" type="slidenum">
              <a:rPr lang="en-BE" smtClean="0"/>
              <a:pPr/>
              <a:t>24</a:t>
            </a:fld>
            <a:endParaRPr lang="en-B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Top down model</a:t>
            </a:r>
          </a:p>
        </p:txBody>
      </p:sp>
      <p:graphicFrame>
        <p:nvGraphicFramePr>
          <p:cNvPr id="5" name="Diagram 4"/>
          <p:cNvGraphicFramePr/>
          <p:nvPr/>
        </p:nvGraphicFramePr>
        <p:xfrm>
          <a:off x="1462875" y="405318"/>
          <a:ext cx="9073515" cy="51187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Rectangle 5"/>
          <p:cNvSpPr/>
          <p:nvPr/>
        </p:nvSpPr>
        <p:spPr>
          <a:xfrm>
            <a:off x="418352" y="5464002"/>
            <a:ext cx="1146884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YRRHA Top-Down model with fault-tolerance strategies. Numbers in brackets are fault count per 90 days (worst case to reach requirements). Numbers in square brackets are the system count. Numbers in arrow-brackets indicate the effectiveness of the respective fault-tolerance mechanism (i.e. what percentage of faults in the systems below the fault-tolerance method will be visible to operation)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35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814E660-BF25-4843-B2A0-93C6E2B6253B}" type="slidenum">
              <a:rPr lang="en-BE" smtClean="0"/>
              <a:pPr/>
              <a:t>25</a:t>
            </a:fld>
            <a:endParaRPr lang="en-B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Injector reliability - AVAILSIM4 simulations</a:t>
            </a:r>
          </a:p>
        </p:txBody>
      </p:sp>
      <p:sp>
        <p:nvSpPr>
          <p:cNvPr id="5" name="TextBox 1"/>
          <p:cNvSpPr txBox="1"/>
          <p:nvPr/>
        </p:nvSpPr>
        <p:spPr>
          <a:xfrm>
            <a:off x="447121" y="847944"/>
            <a:ext cx="977264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ym typeface="Symbol" panose="05050102010706020507" pitchFamily="18" charset="2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>
                <a:sym typeface="Symbol" panose="05050102010706020507" pitchFamily="18" charset="2"/>
              </a:rPr>
              <a:t>Availability of the </a:t>
            </a:r>
            <a:r>
              <a:rPr lang="en-US" dirty="0" err="1">
                <a:sym typeface="Symbol" panose="05050102010706020507" pitchFamily="18" charset="2"/>
              </a:rPr>
              <a:t>linac</a:t>
            </a:r>
            <a:r>
              <a:rPr lang="en-US" dirty="0">
                <a:sym typeface="Symbol" panose="05050102010706020507" pitchFamily="18" charset="2"/>
              </a:rPr>
              <a:t> simulated with Monte Carlo code (AVAILSIM4)</a:t>
            </a:r>
          </a:p>
          <a:p>
            <a:endParaRPr lang="en-US" dirty="0">
              <a:sym typeface="Symbol" panose="05050102010706020507" pitchFamily="18" charset="2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>
                <a:sym typeface="Symbol" panose="05050102010706020507" pitchFamily="18" charset="2"/>
              </a:rPr>
              <a:t>AVAILSIM4 result for the redundant injector strategy:</a:t>
            </a:r>
          </a:p>
          <a:p>
            <a:endParaRPr lang="en-US" dirty="0">
              <a:sym typeface="Symbol" panose="05050102010706020507" pitchFamily="18" charset="2"/>
            </a:endParaRPr>
          </a:p>
          <a:p>
            <a:endParaRPr lang="en-US" dirty="0"/>
          </a:p>
        </p:txBody>
      </p:sp>
      <p:pic>
        <p:nvPicPr>
          <p:cNvPr id="6" name="Content Placeholder 7"/>
          <p:cNvPicPr>
            <a:picLocks/>
          </p:cNvPicPr>
          <p:nvPr/>
        </p:nvPicPr>
        <p:blipFill rotWithShape="1">
          <a:blip r:embed="rId2"/>
          <a:srcRect t="7259"/>
          <a:stretch/>
        </p:blipFill>
        <p:spPr>
          <a:xfrm>
            <a:off x="447120" y="2340528"/>
            <a:ext cx="5685231" cy="3825379"/>
          </a:xfrm>
          <a:prstGeom prst="rect">
            <a:avLst/>
          </a:prstGeom>
        </p:spPr>
      </p:pic>
      <p:sp>
        <p:nvSpPr>
          <p:cNvPr id="8" name="TextBox 4"/>
          <p:cNvSpPr txBox="1"/>
          <p:nvPr/>
        </p:nvSpPr>
        <p:spPr>
          <a:xfrm>
            <a:off x="6578418" y="3029771"/>
            <a:ext cx="544779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F0000"/>
                </a:solidFill>
              </a:rPr>
              <a:t>target failure rate per hour </a:t>
            </a:r>
            <a:r>
              <a:rPr lang="en-US" dirty="0"/>
              <a:t>for the injector deduced from breakdown of estimated individual failure rates for all compon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ailure rate/h simulated for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/>
              <a:t>different Mean Time Between Failures (MTBF)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/>
              <a:t>different Mean Time To Repair (MTTR)</a:t>
            </a:r>
          </a:p>
          <a:p>
            <a:pPr lvl="1"/>
            <a:endParaRPr lang="en-US" dirty="0"/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/>
          </a:p>
        </p:txBody>
      </p:sp>
      <p:cxnSp>
        <p:nvCxnSpPr>
          <p:cNvPr id="9" name="Straight Arrow Connector 8"/>
          <p:cNvCxnSpPr/>
          <p:nvPr/>
        </p:nvCxnSpPr>
        <p:spPr>
          <a:xfrm flipH="1">
            <a:off x="5269672" y="3238150"/>
            <a:ext cx="1592522" cy="637741"/>
          </a:xfrm>
          <a:prstGeom prst="straightConnector1">
            <a:avLst/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9053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814E660-BF25-4843-B2A0-93C6E2B6253B}" type="slidenum">
              <a:rPr lang="en-BE" smtClean="0"/>
              <a:pPr/>
              <a:t>26</a:t>
            </a:fld>
            <a:endParaRPr lang="en-B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/>
              <a:t>Dynamic RF-compensation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8922" y="1289973"/>
            <a:ext cx="7447297" cy="450451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380359" y="1673464"/>
            <a:ext cx="3520140" cy="156510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7" name="TextBox 4"/>
          <p:cNvSpPr txBox="1"/>
          <p:nvPr/>
        </p:nvSpPr>
        <p:spPr>
          <a:xfrm>
            <a:off x="3297266" y="2604162"/>
            <a:ext cx="19903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ym typeface="Wingdings" panose="05000000000000000000" pitchFamily="2" charset="2"/>
              </a:rPr>
              <a:t> </a:t>
            </a:r>
            <a:r>
              <a:rPr lang="en-US" sz="1200" dirty="0"/>
              <a:t>Ideal from beam dynamics</a:t>
            </a:r>
          </a:p>
        </p:txBody>
      </p:sp>
      <p:sp>
        <p:nvSpPr>
          <p:cNvPr id="8" name="TextBox 6"/>
          <p:cNvSpPr txBox="1"/>
          <p:nvPr/>
        </p:nvSpPr>
        <p:spPr>
          <a:xfrm>
            <a:off x="3297266" y="2358197"/>
            <a:ext cx="19166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FF0000"/>
                </a:solidFill>
                <a:sym typeface="Wingdings" panose="05000000000000000000" pitchFamily="2" charset="2"/>
              </a:rPr>
              <a:t> </a:t>
            </a:r>
            <a:r>
              <a:rPr lang="en-US" sz="1200" dirty="0"/>
              <a:t>With fault compensation</a:t>
            </a:r>
          </a:p>
        </p:txBody>
      </p:sp>
      <p:sp>
        <p:nvSpPr>
          <p:cNvPr id="9" name="Rectangle 8"/>
          <p:cNvSpPr/>
          <p:nvPr/>
        </p:nvSpPr>
        <p:spPr>
          <a:xfrm>
            <a:off x="3297266" y="2097676"/>
            <a:ext cx="3168047" cy="276999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00B04F"/>
                </a:solidFill>
                <a:sym typeface="Wingdings" panose="05000000000000000000" pitchFamily="2" charset="2"/>
              </a:rPr>
              <a:t> </a:t>
            </a:r>
            <a:r>
              <a:rPr lang="en-US" sz="1200" dirty="0"/>
              <a:t>With minimal margins for fault compensation</a:t>
            </a:r>
          </a:p>
        </p:txBody>
      </p:sp>
      <p:sp>
        <p:nvSpPr>
          <p:cNvPr id="10" name="TextBox 8"/>
          <p:cNvSpPr txBox="1"/>
          <p:nvPr/>
        </p:nvSpPr>
        <p:spPr>
          <a:xfrm>
            <a:off x="3505535" y="3515112"/>
            <a:ext cx="1637821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/>
              <a:t>MINERVA</a:t>
            </a:r>
          </a:p>
          <a:p>
            <a:pPr algn="ctr"/>
            <a:r>
              <a:rPr lang="en-US" sz="1200" dirty="0"/>
              <a:t>60 single spoke cavities</a:t>
            </a:r>
          </a:p>
          <a:p>
            <a:pPr algn="ctr"/>
            <a:r>
              <a:rPr lang="en-US" sz="1200" dirty="0"/>
              <a:t>30 </a:t>
            </a:r>
            <a:r>
              <a:rPr lang="en-US" sz="1200" dirty="0" err="1"/>
              <a:t>cryo</a:t>
            </a:r>
            <a:r>
              <a:rPr lang="en-US" sz="1200" dirty="0"/>
              <a:t> modules</a:t>
            </a:r>
          </a:p>
          <a:p>
            <a:pPr algn="ctr"/>
            <a:r>
              <a:rPr lang="en-US" sz="1200" dirty="0"/>
              <a:t>17 </a:t>
            </a:r>
            <a:r>
              <a:rPr lang="en-US" sz="1200" dirty="0">
                <a:sym typeface="Symbol" panose="05050102010706020507" pitchFamily="18" charset="2"/>
              </a:rPr>
              <a:t></a:t>
            </a:r>
            <a:r>
              <a:rPr lang="en-US" sz="1200" dirty="0"/>
              <a:t> 100 MeV</a:t>
            </a:r>
            <a:endParaRPr lang="en-US" sz="1400" b="1" dirty="0"/>
          </a:p>
        </p:txBody>
      </p:sp>
      <p:cxnSp>
        <p:nvCxnSpPr>
          <p:cNvPr id="11" name="Straight Arrow Connector 10"/>
          <p:cNvCxnSpPr/>
          <p:nvPr/>
        </p:nvCxnSpPr>
        <p:spPr>
          <a:xfrm flipV="1">
            <a:off x="3044911" y="4376886"/>
            <a:ext cx="2552568" cy="162"/>
          </a:xfrm>
          <a:prstGeom prst="straightConnector1">
            <a:avLst/>
          </a:prstGeom>
          <a:ln w="3810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 flipV="1">
            <a:off x="5603980" y="4005323"/>
            <a:ext cx="765580" cy="0"/>
          </a:xfrm>
          <a:prstGeom prst="straightConnector1">
            <a:avLst/>
          </a:prstGeom>
          <a:ln w="3810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3"/>
          <p:cNvSpPr txBox="1"/>
          <p:nvPr/>
        </p:nvSpPr>
        <p:spPr>
          <a:xfrm>
            <a:off x="7480701" y="1679267"/>
            <a:ext cx="1774845" cy="115416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(*) 18 double spoke cavities</a:t>
            </a:r>
          </a:p>
          <a:p>
            <a:r>
              <a:rPr lang="en-US" sz="1100" dirty="0"/>
              <a:t>      9 </a:t>
            </a:r>
            <a:r>
              <a:rPr lang="en-US" sz="1100" dirty="0" err="1"/>
              <a:t>cryo</a:t>
            </a:r>
            <a:r>
              <a:rPr lang="en-US" sz="1100" dirty="0"/>
              <a:t> modules</a:t>
            </a:r>
          </a:p>
          <a:p>
            <a:r>
              <a:rPr lang="en-US" sz="1100" dirty="0"/>
              <a:t>      100 </a:t>
            </a:r>
            <a:r>
              <a:rPr lang="en-US" sz="1100" dirty="0">
                <a:sym typeface="Symbol" panose="05050102010706020507" pitchFamily="18" charset="2"/>
              </a:rPr>
              <a:t></a:t>
            </a:r>
            <a:r>
              <a:rPr lang="en-US" sz="1100" dirty="0"/>
              <a:t> 172 MeV</a:t>
            </a:r>
          </a:p>
          <a:p>
            <a:r>
              <a:rPr lang="en-US" sz="1200" dirty="0"/>
              <a:t>(**) 72 elliptical cavities</a:t>
            </a:r>
          </a:p>
          <a:p>
            <a:r>
              <a:rPr lang="en-US" sz="1200" dirty="0"/>
              <a:t>        18 </a:t>
            </a:r>
            <a:r>
              <a:rPr lang="en-US" sz="1200" dirty="0" err="1"/>
              <a:t>cryo</a:t>
            </a:r>
            <a:r>
              <a:rPr lang="en-US" sz="1200" dirty="0"/>
              <a:t> modules</a:t>
            </a:r>
          </a:p>
          <a:p>
            <a:r>
              <a:rPr lang="en-US" sz="1200" dirty="0"/>
              <a:t>        172 </a:t>
            </a:r>
            <a:r>
              <a:rPr lang="en-US" sz="1200" dirty="0">
                <a:sym typeface="Symbol" panose="05050102010706020507" pitchFamily="18" charset="2"/>
              </a:rPr>
              <a:t></a:t>
            </a:r>
            <a:r>
              <a:rPr lang="en-US" sz="1200" dirty="0"/>
              <a:t> 600 MeV</a:t>
            </a:r>
            <a:endParaRPr lang="en-US" sz="1400" b="1" dirty="0"/>
          </a:p>
        </p:txBody>
      </p:sp>
      <p:sp>
        <p:nvSpPr>
          <p:cNvPr id="14" name="TextBox 14"/>
          <p:cNvSpPr txBox="1"/>
          <p:nvPr/>
        </p:nvSpPr>
        <p:spPr>
          <a:xfrm>
            <a:off x="5855158" y="3697546"/>
            <a:ext cx="3866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/>
              <a:t>(*)</a:t>
            </a:r>
          </a:p>
        </p:txBody>
      </p:sp>
      <p:cxnSp>
        <p:nvCxnSpPr>
          <p:cNvPr id="15" name="Straight Arrow Connector 14"/>
          <p:cNvCxnSpPr/>
          <p:nvPr/>
        </p:nvCxnSpPr>
        <p:spPr>
          <a:xfrm flipV="1">
            <a:off x="6369560" y="4899734"/>
            <a:ext cx="3015059" cy="0"/>
          </a:xfrm>
          <a:prstGeom prst="straightConnector1">
            <a:avLst/>
          </a:prstGeom>
          <a:ln w="3810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6"/>
          <p:cNvSpPr txBox="1"/>
          <p:nvPr/>
        </p:nvSpPr>
        <p:spPr>
          <a:xfrm>
            <a:off x="7678214" y="4587487"/>
            <a:ext cx="47641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/>
              <a:t>(**)</a:t>
            </a:r>
          </a:p>
        </p:txBody>
      </p:sp>
      <p:sp>
        <p:nvSpPr>
          <p:cNvPr id="17" name="TextBox 18"/>
          <p:cNvSpPr txBox="1"/>
          <p:nvPr/>
        </p:nvSpPr>
        <p:spPr>
          <a:xfrm>
            <a:off x="2311084" y="5858221"/>
            <a:ext cx="78614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The plot shows power requirements for all cavities from a pure beam dynamics point of view, when 4 neighboring cavities compensate 1 faulty cavity</a:t>
            </a:r>
          </a:p>
        </p:txBody>
      </p:sp>
    </p:spTree>
    <p:extLst>
      <p:ext uri="{BB962C8B-B14F-4D97-AF65-F5344CB8AC3E}">
        <p14:creationId xmlns:p14="http://schemas.microsoft.com/office/powerpoint/2010/main" val="770635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" name="Picture 1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8947" y="5179434"/>
            <a:ext cx="852532" cy="697838"/>
          </a:xfrm>
          <a:prstGeom prst="rect">
            <a:avLst/>
          </a:prstGeom>
        </p:spPr>
      </p:pic>
      <p:pic>
        <p:nvPicPr>
          <p:cNvPr id="80" name="Picture 79">
            <a:extLst>
              <a:ext uri="{FF2B5EF4-FFF2-40B4-BE49-F238E27FC236}">
                <a16:creationId xmlns:a16="http://schemas.microsoft.com/office/drawing/2014/main" id="{6811530E-C4FB-4252-B4ED-4C239E3CA06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3839" y="1408789"/>
            <a:ext cx="1092137" cy="575169"/>
          </a:xfrm>
          <a:prstGeom prst="rect">
            <a:avLst/>
          </a:prstGeom>
        </p:spPr>
      </p:pic>
      <p:pic>
        <p:nvPicPr>
          <p:cNvPr id="103" name="Picture 10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4899" y="1444278"/>
            <a:ext cx="1844550" cy="93258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265" y="-14481"/>
            <a:ext cx="10972800" cy="960107"/>
          </a:xfrm>
        </p:spPr>
        <p:txBody>
          <a:bodyPr/>
          <a:lstStyle/>
          <a:p>
            <a:r>
              <a:rPr lang="en-GB" dirty="0"/>
              <a:t>International R&amp;D network (1)</a:t>
            </a:r>
          </a:p>
        </p:txBody>
      </p:sp>
      <p:sp>
        <p:nvSpPr>
          <p:cNvPr id="79" name="Rounded Rectangle 7">
            <a:extLst>
              <a:ext uri="{FF2B5EF4-FFF2-40B4-BE49-F238E27FC236}">
                <a16:creationId xmlns:a16="http://schemas.microsoft.com/office/drawing/2014/main" id="{749C7FDE-C4E3-4611-B47F-4FFEC84ED95B}"/>
              </a:ext>
            </a:extLst>
          </p:cNvPr>
          <p:cNvSpPr/>
          <p:nvPr/>
        </p:nvSpPr>
        <p:spPr bwMode="auto">
          <a:xfrm>
            <a:off x="479376" y="1388846"/>
            <a:ext cx="5400000" cy="5007300"/>
          </a:xfrm>
          <a:prstGeom prst="roundRect">
            <a:avLst/>
          </a:prstGeom>
          <a:solidFill>
            <a:srgbClr val="FFFF00">
              <a:alpha val="5000"/>
            </a:srgbClr>
          </a:solidFill>
          <a:ln w="2857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10800000" rev="0"/>
            </a:camera>
            <a:lightRig rig="threePt" dir="t"/>
          </a:scene3d>
        </p:spPr>
        <p:txBody>
          <a:bodyPr/>
          <a:lstStyle/>
          <a:p>
            <a:pPr eaLnBrk="0" hangingPunct="0">
              <a:defRPr/>
            </a:pPr>
            <a:endParaRPr lang="en-US">
              <a:latin typeface="Arial" charset="0"/>
            </a:endParaRPr>
          </a:p>
        </p:txBody>
      </p:sp>
      <p:pic>
        <p:nvPicPr>
          <p:cNvPr id="81" name="Picture 9">
            <a:extLst>
              <a:ext uri="{FF2B5EF4-FFF2-40B4-BE49-F238E27FC236}">
                <a16:creationId xmlns:a16="http://schemas.microsoft.com/office/drawing/2014/main" id="{FB5EBF85-C80E-4F46-827F-EDB6505904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0626" y="5249749"/>
            <a:ext cx="677670" cy="699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" name="Picture 10">
            <a:extLst>
              <a:ext uri="{FF2B5EF4-FFF2-40B4-BE49-F238E27FC236}">
                <a16:creationId xmlns:a16="http://schemas.microsoft.com/office/drawing/2014/main" id="{C8E27DD1-D437-463D-837F-114DF9CB84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5933" y="4417747"/>
            <a:ext cx="983714" cy="379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0" name="Picture 7">
            <a:extLst>
              <a:ext uri="{FF2B5EF4-FFF2-40B4-BE49-F238E27FC236}">
                <a16:creationId xmlns:a16="http://schemas.microsoft.com/office/drawing/2014/main" id="{54C9265B-7CD5-4494-A850-D8691D06EA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80278" y="3573064"/>
            <a:ext cx="441001" cy="43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6" name="Picture 95">
            <a:extLst>
              <a:ext uri="{FF2B5EF4-FFF2-40B4-BE49-F238E27FC236}">
                <a16:creationId xmlns:a16="http://schemas.microsoft.com/office/drawing/2014/main" id="{83AD917C-5817-4ABF-A8FA-BEFD72BFBB83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9397" y="4434057"/>
            <a:ext cx="1091147" cy="396046"/>
          </a:xfrm>
          <a:prstGeom prst="rect">
            <a:avLst/>
          </a:prstGeom>
        </p:spPr>
      </p:pic>
      <p:sp>
        <p:nvSpPr>
          <p:cNvPr id="118" name="TextBox 117">
            <a:extLst>
              <a:ext uri="{FF2B5EF4-FFF2-40B4-BE49-F238E27FC236}">
                <a16:creationId xmlns:a16="http://schemas.microsoft.com/office/drawing/2014/main" id="{A7EA09E7-AAFC-467C-958A-49ECE628723E}"/>
              </a:ext>
            </a:extLst>
          </p:cNvPr>
          <p:cNvSpPr txBox="1"/>
          <p:nvPr/>
        </p:nvSpPr>
        <p:spPr>
          <a:xfrm>
            <a:off x="2347044" y="832533"/>
            <a:ext cx="1658403" cy="415498"/>
          </a:xfrm>
          <a:prstGeom prst="rect">
            <a:avLst/>
          </a:prstGeom>
          <a:solidFill>
            <a:srgbClr val="FFFFFF"/>
          </a:solidFill>
          <a:ln>
            <a:solidFill>
              <a:srgbClr val="3E8FCD"/>
            </a:solidFill>
          </a:ln>
        </p:spPr>
        <p:txBody>
          <a:bodyPr wrap="none" rtlCol="0">
            <a:spAutoFit/>
          </a:bodyPr>
          <a:lstStyle/>
          <a:p>
            <a:r>
              <a:rPr lang="fr-BE" b="1" dirty="0" err="1">
                <a:solidFill>
                  <a:srgbClr val="3E8FCD"/>
                </a:solidFill>
              </a:rPr>
              <a:t>Universities</a:t>
            </a:r>
            <a:endParaRPr lang="fr-FR" b="1" dirty="0" err="1">
              <a:solidFill>
                <a:srgbClr val="3E8FCD"/>
              </a:solidFill>
            </a:endParaRPr>
          </a:p>
        </p:txBody>
      </p:sp>
      <p:pic>
        <p:nvPicPr>
          <p:cNvPr id="122" name="Picture 121">
            <a:extLst>
              <a:ext uri="{FF2B5EF4-FFF2-40B4-BE49-F238E27FC236}">
                <a16:creationId xmlns:a16="http://schemas.microsoft.com/office/drawing/2014/main" id="{850BE9DB-EA20-489D-BD5A-AEDE5440C4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63939" y="2120834"/>
            <a:ext cx="803014" cy="46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6" name="Footer Placeholder 5"/>
          <p:cNvSpPr txBox="1">
            <a:spLocks/>
          </p:cNvSpPr>
          <p:nvPr/>
        </p:nvSpPr>
        <p:spPr>
          <a:xfrm>
            <a:off x="387229" y="6428792"/>
            <a:ext cx="8970998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/>
              <a:t>Source: SCK CEN MYRRHA Project Team</a:t>
            </a:r>
          </a:p>
          <a:p>
            <a:r>
              <a:rPr lang="nl-BE" dirty="0"/>
              <a:t>* </a:t>
            </a:r>
            <a:r>
              <a:rPr lang="nl-BE" dirty="0" err="1"/>
              <a:t>Acquired</a:t>
            </a:r>
            <a:r>
              <a:rPr lang="nl-BE" dirty="0"/>
              <a:t> </a:t>
            </a:r>
            <a:r>
              <a:rPr lang="nl-BE" dirty="0" err="1"/>
              <a:t>by</a:t>
            </a:r>
            <a:r>
              <a:rPr lang="nl-BE" dirty="0"/>
              <a:t> Veolia</a:t>
            </a:r>
          </a:p>
        </p:txBody>
      </p:sp>
      <p:pic>
        <p:nvPicPr>
          <p:cNvPr id="314458" name="Picture 90" descr="KU Leuven logo – Dienst Internationaliseri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7118" y="1520840"/>
            <a:ext cx="1309090" cy="4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4460" name="Picture 92" descr="Welkom — Universiteit Gent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8607" y="1520840"/>
            <a:ext cx="603600" cy="4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4462" name="Picture 94" descr="Fichier:Logo-Goethe-University-Frankfurt-am-Main.svg — Wikipédia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427" y="2816984"/>
            <a:ext cx="859455" cy="4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330" y="3609064"/>
            <a:ext cx="1517431" cy="396000"/>
          </a:xfrm>
          <a:prstGeom prst="rect">
            <a:avLst/>
          </a:prstGeom>
        </p:spPr>
      </p:pic>
      <p:pic>
        <p:nvPicPr>
          <p:cNvPr id="314467" name="Picture 99" descr="File:Leibniz-Universität Hannover.png - Wikipedia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4861" y="2816984"/>
            <a:ext cx="1415759" cy="4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4472" name="Picture 104" descr="TU Delft - Tenure Track parental/maternity leave extension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7639" y="3501008"/>
            <a:ext cx="1106120" cy="4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4475" name="Picture 107" descr="File:Znak graficzny AGH.svg - Wikimedia Commons"/>
          <p:cNvPicPr>
            <a:picLocks noChangeAspect="1" noChangeArrowheads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55" r="19993"/>
          <a:stretch/>
        </p:blipFill>
        <p:spPr bwMode="auto">
          <a:xfrm>
            <a:off x="3204468" y="3466195"/>
            <a:ext cx="405304" cy="682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4477" name="Picture 109" descr="Universidad de Sevilla | EEC Project | European Entrepreneurs Campus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7088" y="4221066"/>
            <a:ext cx="720102" cy="720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4662" y="2816984"/>
            <a:ext cx="1242478" cy="4680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8547" y="5082078"/>
            <a:ext cx="939210" cy="93921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7749" y="4343499"/>
            <a:ext cx="1122872" cy="45365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5570" y="4322992"/>
            <a:ext cx="532404" cy="61817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7638" y="1520840"/>
            <a:ext cx="421200" cy="46800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0715" y="2168912"/>
            <a:ext cx="1268295" cy="468000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499" y="2204864"/>
            <a:ext cx="1306024" cy="468437"/>
          </a:xfrm>
          <a:prstGeom prst="rect">
            <a:avLst/>
          </a:prstGeom>
        </p:spPr>
      </p:pic>
      <p:grpSp>
        <p:nvGrpSpPr>
          <p:cNvPr id="85" name="Group 84">
            <a:extLst>
              <a:ext uri="{FF2B5EF4-FFF2-40B4-BE49-F238E27FC236}">
                <a16:creationId xmlns:a16="http://schemas.microsoft.com/office/drawing/2014/main" id="{0AD1FB8F-CFF9-4C97-AF47-C30421B317AA}"/>
              </a:ext>
            </a:extLst>
          </p:cNvPr>
          <p:cNvGrpSpPr/>
          <p:nvPr/>
        </p:nvGrpSpPr>
        <p:grpSpPr>
          <a:xfrm>
            <a:off x="6291080" y="1393331"/>
            <a:ext cx="5400000" cy="5007600"/>
            <a:chOff x="3343381" y="1268760"/>
            <a:chExt cx="5212180" cy="4940489"/>
          </a:xfrm>
        </p:grpSpPr>
        <p:sp>
          <p:nvSpPr>
            <p:cNvPr id="86" name="Rounded Rectangle 4">
              <a:extLst>
                <a:ext uri="{FF2B5EF4-FFF2-40B4-BE49-F238E27FC236}">
                  <a16:creationId xmlns:a16="http://schemas.microsoft.com/office/drawing/2014/main" id="{90E43E81-7F35-491D-9B39-B77C939254BC}"/>
                </a:ext>
              </a:extLst>
            </p:cNvPr>
            <p:cNvSpPr/>
            <p:nvPr/>
          </p:nvSpPr>
          <p:spPr bwMode="auto">
            <a:xfrm>
              <a:off x="3343381" y="1268760"/>
              <a:ext cx="5212180" cy="4940489"/>
            </a:xfrm>
            <a:prstGeom prst="roundRect">
              <a:avLst/>
            </a:prstGeom>
            <a:solidFill>
              <a:srgbClr val="FFFF00">
                <a:alpha val="5000"/>
              </a:srgbClr>
            </a:solidFill>
            <a:ln w="2857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>
                <a:rot lat="0" lon="10800000" rev="0"/>
              </a:camera>
              <a:lightRig rig="threePt" dir="t"/>
            </a:scene3d>
          </p:spPr>
          <p:txBody>
            <a:bodyPr/>
            <a:lstStyle/>
            <a:p>
              <a:pPr eaLnBrk="0" hangingPunct="0">
                <a:defRPr/>
              </a:pPr>
              <a:endParaRPr lang="en-US">
                <a:latin typeface="Arial" charset="0"/>
              </a:endParaRPr>
            </a:p>
          </p:txBody>
        </p:sp>
        <p:pic>
          <p:nvPicPr>
            <p:cNvPr id="87" name="Picture 18" descr="Centro de Investigaciones Energéticas, Medioambientales y Tecnológicas">
              <a:hlinkClick r:id="rId29"/>
              <a:extLst>
                <a:ext uri="{FF2B5EF4-FFF2-40B4-BE49-F238E27FC236}">
                  <a16:creationId xmlns:a16="http://schemas.microsoft.com/office/drawing/2014/main" id="{E08DC4C3-0F38-408B-B202-09FFB65C3E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0307" y="3249603"/>
              <a:ext cx="1603806" cy="3992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8" name="Picture 20" descr="Paul Scherrer Institut">
              <a:extLst>
                <a:ext uri="{FF2B5EF4-FFF2-40B4-BE49-F238E27FC236}">
                  <a16:creationId xmlns:a16="http://schemas.microsoft.com/office/drawing/2014/main" id="{99AAAAE1-6D78-4737-A6CD-EF91D41A72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01183" y="5701832"/>
              <a:ext cx="941388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9" name="Picture 9">
              <a:extLst>
                <a:ext uri="{FF2B5EF4-FFF2-40B4-BE49-F238E27FC236}">
                  <a16:creationId xmlns:a16="http://schemas.microsoft.com/office/drawing/2014/main" id="{E0406FC4-91CE-4ACA-BBD3-8C3E7CB1134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95033" y="3855325"/>
              <a:ext cx="528247" cy="6506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2" name="TextBox 91">
            <a:extLst>
              <a:ext uri="{FF2B5EF4-FFF2-40B4-BE49-F238E27FC236}">
                <a16:creationId xmlns:a16="http://schemas.microsoft.com/office/drawing/2014/main" id="{9168B69E-522F-4097-863B-FAE293B9BC12}"/>
              </a:ext>
            </a:extLst>
          </p:cNvPr>
          <p:cNvSpPr txBox="1"/>
          <p:nvPr/>
        </p:nvSpPr>
        <p:spPr>
          <a:xfrm>
            <a:off x="8282276" y="832547"/>
            <a:ext cx="1307024" cy="415498"/>
          </a:xfrm>
          <a:prstGeom prst="rect">
            <a:avLst/>
          </a:prstGeom>
          <a:solidFill>
            <a:srgbClr val="FFFFFF"/>
          </a:solidFill>
          <a:ln>
            <a:solidFill>
              <a:srgbClr val="3E8FCD"/>
            </a:solidFill>
          </a:ln>
        </p:spPr>
        <p:txBody>
          <a:bodyPr wrap="none" rtlCol="0">
            <a:spAutoFit/>
          </a:bodyPr>
          <a:lstStyle/>
          <a:p>
            <a:r>
              <a:rPr lang="fr-BE" b="1" dirty="0" err="1">
                <a:solidFill>
                  <a:srgbClr val="3E8FCD"/>
                </a:solidFill>
              </a:rPr>
              <a:t>Research</a:t>
            </a:r>
            <a:endParaRPr lang="fr-FR" b="1" dirty="0" err="1">
              <a:solidFill>
                <a:srgbClr val="3E8FCD"/>
              </a:solidFill>
            </a:endParaRPr>
          </a:p>
        </p:txBody>
      </p:sp>
      <p:pic>
        <p:nvPicPr>
          <p:cNvPr id="93" name="Picture 92">
            <a:extLst>
              <a:ext uri="{FF2B5EF4-FFF2-40B4-BE49-F238E27FC236}">
                <a16:creationId xmlns:a16="http://schemas.microsoft.com/office/drawing/2014/main" id="{C70F7905-5C16-46D9-A420-DC4115EF9F6C}"/>
              </a:ext>
            </a:extLst>
          </p:cNvPr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3939" y="1444277"/>
            <a:ext cx="963698" cy="955667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E82220FA-7586-4481-B3B4-7F33623EB082}"/>
              </a:ext>
            </a:extLst>
          </p:cNvPr>
          <p:cNvPicPr>
            <a:picLocks noChangeAspect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7536" y="1560275"/>
            <a:ext cx="1241474" cy="710624"/>
          </a:xfrm>
          <a:prstGeom prst="rect">
            <a:avLst/>
          </a:prstGeom>
        </p:spPr>
      </p:pic>
      <p:pic>
        <p:nvPicPr>
          <p:cNvPr id="95" name="Picture 111" descr="https://upload.wikimedia.org/wikipedia/commons/thumb/3/3a/Logo_KIT.svg/320px-Logo_KIT.svg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4454" y="2593995"/>
            <a:ext cx="1034040" cy="517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" name="Picture 121" descr="Licence: Creative Commons Licence Download the original ...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4454" y="3256193"/>
            <a:ext cx="642658" cy="642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" name="Picture 124" descr="cs:reference:ujvrez [FLAB]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1470" y="3179456"/>
            <a:ext cx="700767" cy="752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" name="Picture 126" descr="Pilot training of non-nuclear professionals within CORONA project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1174" y="4182501"/>
            <a:ext cx="646560" cy="426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133" descr="Forschungszentrum Jülich GmbH – PEARL TF-PV Project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4190" y="5462105"/>
            <a:ext cx="1080002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136" descr="Helmholtz-Zentrum Dresden-Rossendorf - Wikipedia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0137" y="4819846"/>
            <a:ext cx="619270" cy="427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138" descr="INFN | XDC - eXtreme DataCloud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83228" y="4790562"/>
            <a:ext cx="817891" cy="519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140" descr="EVOCATION MSCA Innovative Training Network: One Early-Stage ...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83228" y="5832730"/>
            <a:ext cx="468000" cy="4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" name="Picture 110"/>
          <p:cNvPicPr>
            <a:picLocks noChangeAspect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8221" y="2554544"/>
            <a:ext cx="700128" cy="571533"/>
          </a:xfrm>
          <a:prstGeom prst="rect">
            <a:avLst/>
          </a:prstGeom>
        </p:spPr>
      </p:pic>
      <p:pic>
        <p:nvPicPr>
          <p:cNvPr id="112" name="Picture 2" descr="https://www.enea.it/++theme++ENEA/img/logoENEA.png"/>
          <p:cNvPicPr>
            <a:picLocks noChangeAspect="1" noChangeArrowheads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7536" y="3412289"/>
            <a:ext cx="1149475" cy="35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5" name="Picture 25" descr="cnrsin2p3ok"/>
          <p:cNvPicPr>
            <a:picLocks noChangeAspect="1" noChangeArrowheads="1"/>
          </p:cNvPicPr>
          <p:nvPr/>
        </p:nvPicPr>
        <p:blipFill>
          <a:blip r:embed="rId45" cstate="print"/>
          <a:srcRect/>
          <a:stretch>
            <a:fillRect/>
          </a:stretch>
        </p:blipFill>
        <p:spPr bwMode="auto">
          <a:xfrm>
            <a:off x="6738017" y="2521515"/>
            <a:ext cx="1014347" cy="575619"/>
          </a:xfrm>
          <a:prstGeom prst="rect">
            <a:avLst/>
          </a:prstGeom>
          <a:noFill/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2843" y="5178724"/>
            <a:ext cx="827813" cy="770556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6739" y="5126746"/>
            <a:ext cx="822534" cy="822534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5857530"/>
            <a:ext cx="1951447" cy="401911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5373" y="5310408"/>
            <a:ext cx="1212995" cy="464259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0861" y="4122427"/>
            <a:ext cx="1073807" cy="444737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5094" y="4097161"/>
            <a:ext cx="1907506" cy="535172"/>
          </a:xfrm>
          <a:prstGeom prst="rect">
            <a:avLst/>
          </a:prstGeom>
        </p:spPr>
      </p:pic>
      <p:pic>
        <p:nvPicPr>
          <p:cNvPr id="314496" name="Picture 314495"/>
          <p:cNvPicPr>
            <a:picLocks noChangeAspect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2065" y="4751264"/>
            <a:ext cx="1204268" cy="648000"/>
          </a:xfrm>
          <a:prstGeom prst="rect">
            <a:avLst/>
          </a:prstGeom>
        </p:spPr>
      </p:pic>
      <p:pic>
        <p:nvPicPr>
          <p:cNvPr id="314497" name="Picture 314496"/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380" y="4866672"/>
            <a:ext cx="1740093" cy="417183"/>
          </a:xfrm>
          <a:prstGeom prst="rect">
            <a:avLst/>
          </a:prstGeom>
        </p:spPr>
      </p:pic>
      <p:pic>
        <p:nvPicPr>
          <p:cNvPr id="314498" name="Picture 314497"/>
          <p:cNvPicPr>
            <a:picLocks noChangeAspect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2567" y="5369784"/>
            <a:ext cx="1765825" cy="436263"/>
          </a:xfrm>
          <a:prstGeom prst="rect">
            <a:avLst/>
          </a:prstGeom>
        </p:spPr>
      </p:pic>
      <p:pic>
        <p:nvPicPr>
          <p:cNvPr id="314499" name="Picture 314498"/>
          <p:cNvPicPr>
            <a:picLocks noChangeAspect="1"/>
          </p:cNvPicPr>
          <p:nvPr/>
        </p:nvPicPr>
        <p:blipFill rotWithShape="1"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00" t="23750" r="24800" b="23750"/>
          <a:stretch/>
        </p:blipFill>
        <p:spPr>
          <a:xfrm>
            <a:off x="3792962" y="3537072"/>
            <a:ext cx="648000" cy="540000"/>
          </a:xfrm>
          <a:prstGeom prst="rect">
            <a:avLst/>
          </a:prstGeom>
        </p:spPr>
      </p:pic>
      <p:pic>
        <p:nvPicPr>
          <p:cNvPr id="314500" name="Picture 314499"/>
          <p:cNvPicPr>
            <a:picLocks noChangeAspect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4651" y="5142090"/>
            <a:ext cx="773875" cy="735182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144" y="5949280"/>
            <a:ext cx="1446954" cy="263544"/>
          </a:xfrm>
          <a:prstGeom prst="rect">
            <a:avLst/>
          </a:prstGeom>
        </p:spPr>
      </p:pic>
      <p:pic>
        <p:nvPicPr>
          <p:cNvPr id="62" name="Picture 61"/>
          <p:cNvPicPr>
            <a:picLocks noChangeAspect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0861" y="2372786"/>
            <a:ext cx="747783" cy="747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60026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8607" y="3355011"/>
            <a:ext cx="1608190" cy="507849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International R&amp;D network (2)</a:t>
            </a:r>
          </a:p>
        </p:txBody>
      </p:sp>
      <p:sp>
        <p:nvSpPr>
          <p:cNvPr id="126" name="Footer Placeholder 5"/>
          <p:cNvSpPr txBox="1">
            <a:spLocks/>
          </p:cNvSpPr>
          <p:nvPr/>
        </p:nvSpPr>
        <p:spPr>
          <a:xfrm>
            <a:off x="479376" y="6393030"/>
            <a:ext cx="8970998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/>
              <a:t>Source: SCK CEN MYRRHA Project Team</a:t>
            </a:r>
          </a:p>
          <a:p>
            <a:r>
              <a:rPr lang="nl-BE" dirty="0"/>
              <a:t>* </a:t>
            </a:r>
            <a:r>
              <a:rPr lang="nl-BE" dirty="0" err="1"/>
              <a:t>Acquired</a:t>
            </a:r>
            <a:r>
              <a:rPr lang="nl-BE" dirty="0"/>
              <a:t> </a:t>
            </a:r>
            <a:r>
              <a:rPr lang="nl-BE" dirty="0" err="1"/>
              <a:t>by</a:t>
            </a:r>
            <a:r>
              <a:rPr lang="nl-BE" dirty="0"/>
              <a:t> Veolia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EA181D1-39F4-436A-BD43-BEA61B881F2D}"/>
              </a:ext>
            </a:extLst>
          </p:cNvPr>
          <p:cNvGrpSpPr/>
          <p:nvPr/>
        </p:nvGrpSpPr>
        <p:grpSpPr>
          <a:xfrm>
            <a:off x="1999334" y="1756393"/>
            <a:ext cx="5340706" cy="4087800"/>
            <a:chOff x="2039146" y="1513189"/>
            <a:chExt cx="6080753" cy="4963712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2FE5BF2-5E15-47A5-9449-9208C81A9CE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53543" y="1513189"/>
              <a:ext cx="2175101" cy="795819"/>
            </a:xfrm>
            <a:prstGeom prst="rect">
              <a:avLst/>
            </a:prstGeom>
          </p:spPr>
        </p:pic>
        <p:pic>
          <p:nvPicPr>
            <p:cNvPr id="10" name="Picture 7">
              <a:extLst>
                <a:ext uri="{FF2B5EF4-FFF2-40B4-BE49-F238E27FC236}">
                  <a16:creationId xmlns:a16="http://schemas.microsoft.com/office/drawing/2014/main" id="{7892A1AB-859F-4FC0-A16A-E490885F7A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12482" y="1612600"/>
              <a:ext cx="1867404" cy="6964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6">
              <a:extLst>
                <a:ext uri="{FF2B5EF4-FFF2-40B4-BE49-F238E27FC236}">
                  <a16:creationId xmlns:a16="http://schemas.microsoft.com/office/drawing/2014/main" id="{1F318EC8-D3A4-4E8D-A0AB-DA169917BD0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11085" y="4490800"/>
              <a:ext cx="1567694" cy="5504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10">
              <a:extLst>
                <a:ext uri="{FF2B5EF4-FFF2-40B4-BE49-F238E27FC236}">
                  <a16:creationId xmlns:a16="http://schemas.microsoft.com/office/drawing/2014/main" id="{37D2697A-4662-4BEA-B69D-7F5AE846805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31943" y="4493432"/>
              <a:ext cx="1342904" cy="5076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1F91C1C4-6724-4433-BF34-351B5A51C03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28689" y="5303430"/>
              <a:ext cx="1031320" cy="794672"/>
            </a:xfrm>
            <a:prstGeom prst="rect">
              <a:avLst/>
            </a:prstGeom>
          </p:spPr>
        </p:pic>
        <p:sp>
          <p:nvSpPr>
            <p:cNvPr id="14" name="Rounded Rectangle 5">
              <a:extLst>
                <a:ext uri="{FF2B5EF4-FFF2-40B4-BE49-F238E27FC236}">
                  <a16:creationId xmlns:a16="http://schemas.microsoft.com/office/drawing/2014/main" id="{A796593A-D8EE-4CE3-B4AE-D3EB1EB81A0A}"/>
                </a:ext>
              </a:extLst>
            </p:cNvPr>
            <p:cNvSpPr/>
            <p:nvPr/>
          </p:nvSpPr>
          <p:spPr bwMode="auto">
            <a:xfrm>
              <a:off x="2039146" y="1513189"/>
              <a:ext cx="6080753" cy="4963712"/>
            </a:xfrm>
            <a:prstGeom prst="roundRect">
              <a:avLst/>
            </a:prstGeom>
            <a:solidFill>
              <a:srgbClr val="FFFF00">
                <a:alpha val="5000"/>
              </a:srgbClr>
            </a:solidFill>
            <a:ln w="2857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>
                <a:rot lat="0" lon="10800000" rev="0"/>
              </a:camera>
              <a:lightRig rig="threePt" dir="t"/>
            </a:scene3d>
          </p:spPr>
          <p:txBody>
            <a:bodyPr/>
            <a:lstStyle/>
            <a:p>
              <a:pPr eaLnBrk="0" hangingPunct="0">
                <a:defRPr/>
              </a:pPr>
              <a:endParaRPr lang="en-US" sz="1706">
                <a:latin typeface="Arial" charset="0"/>
              </a:endParaRP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49DF3DA1-B2A5-48E9-9016-93B2ADD6C7E5}"/>
              </a:ext>
            </a:extLst>
          </p:cNvPr>
          <p:cNvSpPr txBox="1"/>
          <p:nvPr/>
        </p:nvSpPr>
        <p:spPr>
          <a:xfrm>
            <a:off x="3665596" y="1265230"/>
            <a:ext cx="1616789" cy="354841"/>
          </a:xfrm>
          <a:prstGeom prst="rect">
            <a:avLst/>
          </a:prstGeom>
          <a:solidFill>
            <a:srgbClr val="FFFFFF"/>
          </a:solidFill>
          <a:ln>
            <a:solidFill>
              <a:srgbClr val="3E8FCD"/>
            </a:solidFill>
          </a:ln>
        </p:spPr>
        <p:txBody>
          <a:bodyPr wrap="none" rtlCol="0">
            <a:spAutoFit/>
          </a:bodyPr>
          <a:lstStyle/>
          <a:p>
            <a:r>
              <a:rPr lang="fr-BE" sz="1706" b="1" dirty="0" err="1">
                <a:solidFill>
                  <a:srgbClr val="3E8FCD"/>
                </a:solidFill>
              </a:rPr>
              <a:t>Private</a:t>
            </a:r>
            <a:r>
              <a:rPr lang="fr-BE" sz="1706" b="1" dirty="0">
                <a:solidFill>
                  <a:srgbClr val="3E8FCD"/>
                </a:solidFill>
              </a:rPr>
              <a:t> </a:t>
            </a:r>
            <a:r>
              <a:rPr lang="fr-BE" sz="1706" b="1" dirty="0" err="1">
                <a:solidFill>
                  <a:srgbClr val="3E8FCD"/>
                </a:solidFill>
              </a:rPr>
              <a:t>Sector</a:t>
            </a:r>
            <a:endParaRPr lang="fr-FR" sz="1706" b="1" dirty="0" err="1">
              <a:solidFill>
                <a:srgbClr val="3E8FCD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EDD88B5-288E-4107-8C98-C4876AE6FE96}"/>
              </a:ext>
            </a:extLst>
          </p:cNvPr>
          <p:cNvSpPr txBox="1"/>
          <p:nvPr/>
        </p:nvSpPr>
        <p:spPr>
          <a:xfrm>
            <a:off x="8811079" y="1325007"/>
            <a:ext cx="1296637" cy="354841"/>
          </a:xfrm>
          <a:prstGeom prst="rect">
            <a:avLst/>
          </a:prstGeom>
          <a:solidFill>
            <a:srgbClr val="FFFFFF"/>
          </a:solidFill>
          <a:ln>
            <a:solidFill>
              <a:srgbClr val="3E8FCD"/>
            </a:solidFill>
          </a:ln>
        </p:spPr>
        <p:txBody>
          <a:bodyPr wrap="none" rtlCol="0">
            <a:spAutoFit/>
          </a:bodyPr>
          <a:lstStyle/>
          <a:p>
            <a:r>
              <a:rPr lang="fr-BE" sz="1706" b="1" dirty="0">
                <a:solidFill>
                  <a:srgbClr val="3E8FCD"/>
                </a:solidFill>
              </a:rPr>
              <a:t>Beyond EU</a:t>
            </a:r>
            <a:endParaRPr lang="fr-FR" sz="1706" b="1" dirty="0" err="1">
              <a:solidFill>
                <a:srgbClr val="3E8FCD"/>
              </a:solidFill>
            </a:endParaRPr>
          </a:p>
        </p:txBody>
      </p:sp>
      <p:pic>
        <p:nvPicPr>
          <p:cNvPr id="18" name="Picture 143" descr="Agenda | ISOP 2020 Lyon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66" r="23775"/>
          <a:stretch/>
        </p:blipFill>
        <p:spPr bwMode="auto">
          <a:xfrm>
            <a:off x="2185337" y="2548101"/>
            <a:ext cx="594080" cy="603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47" descr="https://www.ansaldoenergia.com/PublishingImages/AnsaldoNucleare/logo_ansaldo_nucleare_180_larghezza.jp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4439" y="4992522"/>
            <a:ext cx="1201360" cy="520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50" descr="Official Web | SENER a Engineering group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5211" y="3447760"/>
            <a:ext cx="1619495" cy="322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52" descr="Home - ADEX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1609" y="2700706"/>
            <a:ext cx="629563" cy="428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5359028" y="4204031"/>
            <a:ext cx="222111" cy="217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13" b="1" dirty="0"/>
              <a:t>*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8637333" y="1756393"/>
            <a:ext cx="1563195" cy="4068675"/>
            <a:chOff x="8637333" y="1756393"/>
            <a:chExt cx="1563195" cy="4068675"/>
          </a:xfrm>
        </p:grpSpPr>
        <p:sp>
          <p:nvSpPr>
            <p:cNvPr id="6" name="Rounded Rectangle 6">
              <a:extLst>
                <a:ext uri="{FF2B5EF4-FFF2-40B4-BE49-F238E27FC236}">
                  <a16:creationId xmlns:a16="http://schemas.microsoft.com/office/drawing/2014/main" id="{DF924230-3864-4AD2-BD36-6A1433A14A92}"/>
                </a:ext>
              </a:extLst>
            </p:cNvPr>
            <p:cNvSpPr/>
            <p:nvPr/>
          </p:nvSpPr>
          <p:spPr bwMode="auto">
            <a:xfrm>
              <a:off x="8637333" y="1756393"/>
              <a:ext cx="1563195" cy="4068675"/>
            </a:xfrm>
            <a:prstGeom prst="roundRect">
              <a:avLst/>
            </a:prstGeom>
            <a:solidFill>
              <a:srgbClr val="FFFF00">
                <a:alpha val="5000"/>
              </a:srgbClr>
            </a:solidFill>
            <a:ln w="2857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>
                <a:rot lat="0" lon="10800000" rev="0"/>
              </a:camera>
              <a:lightRig rig="threePt" dir="t"/>
            </a:scene3d>
          </p:spPr>
          <p:txBody>
            <a:bodyPr/>
            <a:lstStyle/>
            <a:p>
              <a:pPr eaLnBrk="0" hangingPunct="0">
                <a:defRPr/>
              </a:pPr>
              <a:endParaRPr lang="en-US" sz="1706">
                <a:latin typeface="Arial" charset="0"/>
              </a:endParaRPr>
            </a:p>
          </p:txBody>
        </p:sp>
        <p:pic>
          <p:nvPicPr>
            <p:cNvPr id="7" name="Picture 55" descr="logo_DoE">
              <a:extLst>
                <a:ext uri="{FF2B5EF4-FFF2-40B4-BE49-F238E27FC236}">
                  <a16:creationId xmlns:a16="http://schemas.microsoft.com/office/drawing/2014/main" id="{9DD56D41-D28B-4ADD-82F1-021B75CB80D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4711" t="9391" r="14440" b="11624"/>
            <a:stretch/>
          </p:blipFill>
          <p:spPr bwMode="auto">
            <a:xfrm>
              <a:off x="9082010" y="3300001"/>
              <a:ext cx="742951" cy="732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Picture 2">
              <a:extLst>
                <a:ext uri="{FF2B5EF4-FFF2-40B4-BE49-F238E27FC236}">
                  <a16:creationId xmlns:a16="http://schemas.microsoft.com/office/drawing/2014/main" id="{19A14B68-6EDD-476B-AB7E-8F07C9D5476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52" t="28239" r="1775" b="25973"/>
            <a:stretch/>
          </p:blipFill>
          <p:spPr bwMode="auto">
            <a:xfrm>
              <a:off x="8881016" y="2207900"/>
              <a:ext cx="1138715" cy="5432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22775" y="4624351"/>
              <a:ext cx="709858" cy="735885"/>
            </a:xfrm>
            <a:prstGeom prst="rect">
              <a:avLst/>
            </a:prstGeom>
          </p:spPr>
        </p:pic>
      </p:grpSp>
      <p:pic>
        <p:nvPicPr>
          <p:cNvPr id="24" name="Picture 23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0698" y="3335687"/>
            <a:ext cx="1313354" cy="546496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1244" y="5068756"/>
            <a:ext cx="1642271" cy="295609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8966" y="2550995"/>
            <a:ext cx="1302150" cy="618425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638" y="2696115"/>
            <a:ext cx="2142481" cy="343757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8307" y="4404086"/>
            <a:ext cx="1387670" cy="220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9404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814E660-BF25-4843-B2A0-93C6E2B6253B}" type="slidenum">
              <a:rPr lang="en-BE" smtClean="0"/>
              <a:pPr/>
              <a:t>29</a:t>
            </a:fld>
            <a:endParaRPr lang="en-BE" dirty="0"/>
          </a:p>
        </p:txBody>
      </p:sp>
      <p:sp>
        <p:nvSpPr>
          <p:cNvPr id="71" name="Rectangle 70"/>
          <p:cNvSpPr/>
          <p:nvPr/>
        </p:nvSpPr>
        <p:spPr>
          <a:xfrm>
            <a:off x="494342" y="2013784"/>
            <a:ext cx="7034071" cy="41908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Rectangle 71"/>
          <p:cNvSpPr/>
          <p:nvPr/>
        </p:nvSpPr>
        <p:spPr>
          <a:xfrm>
            <a:off x="9845029" y="2013782"/>
            <a:ext cx="1859314" cy="419085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8" name="Straight Connector 47"/>
          <p:cNvCxnSpPr/>
          <p:nvPr/>
        </p:nvCxnSpPr>
        <p:spPr>
          <a:xfrm>
            <a:off x="9867199" y="2003776"/>
            <a:ext cx="0" cy="369288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/>
          <p:cNvSpPr/>
          <p:nvPr/>
        </p:nvSpPr>
        <p:spPr>
          <a:xfrm>
            <a:off x="7516957" y="2020088"/>
            <a:ext cx="2350242" cy="41905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7" name="Straight Connector 46"/>
          <p:cNvCxnSpPr/>
          <p:nvPr/>
        </p:nvCxnSpPr>
        <p:spPr>
          <a:xfrm flipH="1">
            <a:off x="4243413" y="2003777"/>
            <a:ext cx="2584" cy="378617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/>
        </p:nvCxnSpPr>
        <p:spPr>
          <a:xfrm>
            <a:off x="11686026" y="1442704"/>
            <a:ext cx="10715" cy="437681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/>
        </p:nvCxnSpPr>
        <p:spPr>
          <a:xfrm>
            <a:off x="7497446" y="1664530"/>
            <a:ext cx="5138" cy="3373137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>
            <a:stCxn id="50" idx="2"/>
          </p:cNvCxnSpPr>
          <p:nvPr/>
        </p:nvCxnSpPr>
        <p:spPr>
          <a:xfrm>
            <a:off x="9856484" y="1697782"/>
            <a:ext cx="10715" cy="4506855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>
            <a:stCxn id="31" idx="2"/>
          </p:cNvCxnSpPr>
          <p:nvPr/>
        </p:nvCxnSpPr>
        <p:spPr>
          <a:xfrm>
            <a:off x="11678032" y="1697781"/>
            <a:ext cx="18709" cy="3173859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>
            <a:stCxn id="26" idx="2"/>
          </p:cNvCxnSpPr>
          <p:nvPr/>
        </p:nvCxnSpPr>
        <p:spPr>
          <a:xfrm>
            <a:off x="495269" y="1697782"/>
            <a:ext cx="6677" cy="31738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7" name="Picture 12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673"/>
          <a:stretch/>
        </p:blipFill>
        <p:spPr>
          <a:xfrm>
            <a:off x="4332498" y="3624508"/>
            <a:ext cx="3089034" cy="1980608"/>
          </a:xfrm>
          <a:prstGeom prst="rect">
            <a:avLst/>
          </a:prstGeom>
        </p:spPr>
      </p:pic>
      <p:pic>
        <p:nvPicPr>
          <p:cNvPr id="129" name="Picture 12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50" r="21136" b="4700"/>
          <a:stretch/>
        </p:blipFill>
        <p:spPr>
          <a:xfrm>
            <a:off x="7554364" y="3634148"/>
            <a:ext cx="2257393" cy="1980000"/>
          </a:xfrm>
          <a:prstGeom prst="rect">
            <a:avLst/>
          </a:prstGeom>
        </p:spPr>
      </p:pic>
      <p:pic>
        <p:nvPicPr>
          <p:cNvPr id="130" name="Picture 129"/>
          <p:cNvPicPr>
            <a:picLocks noChangeAspect="1"/>
          </p:cNvPicPr>
          <p:nvPr/>
        </p:nvPicPr>
        <p:blipFill rotWithShape="1">
          <a:blip r:embed="rId4"/>
          <a:srcRect l="6052" t="24754" r="10955" b="8296"/>
          <a:stretch/>
        </p:blipFill>
        <p:spPr>
          <a:xfrm>
            <a:off x="565775" y="3607391"/>
            <a:ext cx="3685632" cy="1989405"/>
          </a:xfrm>
          <a:prstGeom prst="rect">
            <a:avLst/>
          </a:prstGeom>
        </p:spPr>
      </p:pic>
      <p:cxnSp>
        <p:nvCxnSpPr>
          <p:cNvPr id="132" name="Straight Connector 131"/>
          <p:cNvCxnSpPr/>
          <p:nvPr/>
        </p:nvCxnSpPr>
        <p:spPr>
          <a:xfrm flipH="1">
            <a:off x="5532990" y="684370"/>
            <a:ext cx="5021" cy="3971188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34" name="TextBox 133"/>
          <p:cNvSpPr txBox="1"/>
          <p:nvPr/>
        </p:nvSpPr>
        <p:spPr>
          <a:xfrm>
            <a:off x="5539263" y="561228"/>
            <a:ext cx="6527391" cy="36933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B050"/>
                </a:solidFill>
              </a:rPr>
              <a:t>Nuclear licensing: approval received from authoritie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7158326" y="1343838"/>
            <a:ext cx="717262" cy="353943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en-US" sz="1700" b="1" dirty="0">
                <a:solidFill>
                  <a:schemeClr val="bg1"/>
                </a:solidFill>
              </a:rPr>
              <a:t>2024</a:t>
            </a:r>
          </a:p>
        </p:txBody>
      </p:sp>
      <p:grpSp>
        <p:nvGrpSpPr>
          <p:cNvPr id="42" name="Group 41"/>
          <p:cNvGrpSpPr/>
          <p:nvPr/>
        </p:nvGrpSpPr>
        <p:grpSpPr>
          <a:xfrm>
            <a:off x="3884538" y="1343842"/>
            <a:ext cx="722919" cy="1056690"/>
            <a:chOff x="495300" y="5473700"/>
            <a:chExt cx="722919" cy="660400"/>
          </a:xfrm>
        </p:grpSpPr>
        <p:sp>
          <p:nvSpPr>
            <p:cNvPr id="43" name="TextBox 42"/>
            <p:cNvSpPr txBox="1"/>
            <p:nvPr/>
          </p:nvSpPr>
          <p:spPr>
            <a:xfrm>
              <a:off x="495300" y="5473700"/>
              <a:ext cx="722919" cy="221204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rtlCol="0">
              <a:spAutoFit/>
            </a:bodyPr>
            <a:lstStyle/>
            <a:p>
              <a:r>
                <a:rPr lang="en-US" sz="1700" b="1" dirty="0">
                  <a:solidFill>
                    <a:schemeClr val="bg1"/>
                  </a:solidFill>
                </a:rPr>
                <a:t>2020</a:t>
              </a:r>
            </a:p>
          </p:txBody>
        </p:sp>
        <p:cxnSp>
          <p:nvCxnSpPr>
            <p:cNvPr id="44" name="Straight Connector 43"/>
            <p:cNvCxnSpPr>
              <a:stCxn id="43" idx="2"/>
            </p:cNvCxnSpPr>
            <p:nvPr/>
          </p:nvCxnSpPr>
          <p:spPr>
            <a:xfrm>
              <a:off x="856760" y="5694904"/>
              <a:ext cx="5409" cy="43919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TextBox 49"/>
          <p:cNvSpPr txBox="1"/>
          <p:nvPr/>
        </p:nvSpPr>
        <p:spPr>
          <a:xfrm>
            <a:off x="9495024" y="1343839"/>
            <a:ext cx="722919" cy="353943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en-US" sz="1700" b="1" dirty="0">
                <a:solidFill>
                  <a:schemeClr val="bg1"/>
                </a:solidFill>
              </a:rPr>
              <a:t>2026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7767216" y="2204719"/>
            <a:ext cx="1828800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900" b="1" dirty="0">
                <a:solidFill>
                  <a:schemeClr val="bg1"/>
                </a:solidFill>
              </a:rPr>
              <a:t>Construction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1437208" y="2684284"/>
            <a:ext cx="10620980" cy="381944"/>
            <a:chOff x="290525" y="6090341"/>
            <a:chExt cx="11874045" cy="381944"/>
          </a:xfrm>
        </p:grpSpPr>
        <p:grpSp>
          <p:nvGrpSpPr>
            <p:cNvPr id="6" name="Group 5"/>
            <p:cNvGrpSpPr/>
            <p:nvPr/>
          </p:nvGrpSpPr>
          <p:grpSpPr>
            <a:xfrm>
              <a:off x="290525" y="6212991"/>
              <a:ext cx="11486023" cy="137633"/>
              <a:chOff x="-23812" y="5791200"/>
              <a:chExt cx="15485641" cy="422127"/>
            </a:xfrm>
            <a:solidFill>
              <a:schemeClr val="accent2"/>
            </a:solidFill>
          </p:grpSpPr>
          <p:sp>
            <p:nvSpPr>
              <p:cNvPr id="15" name="Rectangle 14"/>
              <p:cNvSpPr/>
              <p:nvPr/>
            </p:nvSpPr>
            <p:spPr>
              <a:xfrm>
                <a:off x="9829921" y="5791200"/>
                <a:ext cx="1409701" cy="4191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0"/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12642431" y="5791200"/>
                <a:ext cx="1409699" cy="4191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0"/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11239419" y="5791200"/>
                <a:ext cx="1409699" cy="4191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0"/>
              </a:p>
            </p:txBody>
          </p:sp>
          <p:sp>
            <p:nvSpPr>
              <p:cNvPr id="18" name="Rectangle 17"/>
              <p:cNvSpPr/>
              <p:nvPr/>
            </p:nvSpPr>
            <p:spPr>
              <a:xfrm>
                <a:off x="14052130" y="5791200"/>
                <a:ext cx="1409699" cy="419097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0"/>
              </a:p>
            </p:txBody>
          </p:sp>
          <p:sp>
            <p:nvSpPr>
              <p:cNvPr id="8" name="Rectangle 7"/>
              <p:cNvSpPr/>
              <p:nvPr/>
            </p:nvSpPr>
            <p:spPr>
              <a:xfrm>
                <a:off x="-23812" y="5791200"/>
                <a:ext cx="1409700" cy="4191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0"/>
              </a:p>
            </p:txBody>
          </p:sp>
          <p:sp>
            <p:nvSpPr>
              <p:cNvPr id="9" name="Rectangle 8"/>
              <p:cNvSpPr/>
              <p:nvPr/>
            </p:nvSpPr>
            <p:spPr>
              <a:xfrm>
                <a:off x="1383884" y="5791200"/>
                <a:ext cx="1409699" cy="4191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0"/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2793582" y="5793755"/>
                <a:ext cx="1448156" cy="419572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0"/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4211637" y="5791200"/>
                <a:ext cx="1409700" cy="4191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0"/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5619332" y="5791200"/>
                <a:ext cx="1409699" cy="4191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00"/>
              </a:p>
            </p:txBody>
          </p:sp>
        </p:grpSp>
        <p:sp>
          <p:nvSpPr>
            <p:cNvPr id="7" name="Right Arrow 153"/>
            <p:cNvSpPr/>
            <p:nvPr/>
          </p:nvSpPr>
          <p:spPr>
            <a:xfrm>
              <a:off x="11973598" y="6090341"/>
              <a:ext cx="190972" cy="381944"/>
            </a:xfrm>
            <a:custGeom>
              <a:avLst/>
              <a:gdLst>
                <a:gd name="connsiteX0" fmla="*/ 0 w 482600"/>
                <a:gd name="connsiteY0" fmla="*/ 69056 h 276225"/>
                <a:gd name="connsiteX1" fmla="*/ 344488 w 482600"/>
                <a:gd name="connsiteY1" fmla="*/ 69056 h 276225"/>
                <a:gd name="connsiteX2" fmla="*/ 344488 w 482600"/>
                <a:gd name="connsiteY2" fmla="*/ 0 h 276225"/>
                <a:gd name="connsiteX3" fmla="*/ 482600 w 482600"/>
                <a:gd name="connsiteY3" fmla="*/ 138113 h 276225"/>
                <a:gd name="connsiteX4" fmla="*/ 344488 w 482600"/>
                <a:gd name="connsiteY4" fmla="*/ 276225 h 276225"/>
                <a:gd name="connsiteX5" fmla="*/ 344488 w 482600"/>
                <a:gd name="connsiteY5" fmla="*/ 207169 h 276225"/>
                <a:gd name="connsiteX6" fmla="*/ 0 w 482600"/>
                <a:gd name="connsiteY6" fmla="*/ 207169 h 276225"/>
                <a:gd name="connsiteX7" fmla="*/ 0 w 482600"/>
                <a:gd name="connsiteY7" fmla="*/ 69056 h 276225"/>
                <a:gd name="connsiteX0" fmla="*/ 0 w 482600"/>
                <a:gd name="connsiteY0" fmla="*/ 207169 h 276225"/>
                <a:gd name="connsiteX1" fmla="*/ 344488 w 482600"/>
                <a:gd name="connsiteY1" fmla="*/ 69056 h 276225"/>
                <a:gd name="connsiteX2" fmla="*/ 344488 w 482600"/>
                <a:gd name="connsiteY2" fmla="*/ 0 h 276225"/>
                <a:gd name="connsiteX3" fmla="*/ 482600 w 482600"/>
                <a:gd name="connsiteY3" fmla="*/ 138113 h 276225"/>
                <a:gd name="connsiteX4" fmla="*/ 344488 w 482600"/>
                <a:gd name="connsiteY4" fmla="*/ 276225 h 276225"/>
                <a:gd name="connsiteX5" fmla="*/ 344488 w 482600"/>
                <a:gd name="connsiteY5" fmla="*/ 207169 h 276225"/>
                <a:gd name="connsiteX6" fmla="*/ 0 w 482600"/>
                <a:gd name="connsiteY6" fmla="*/ 207169 h 276225"/>
                <a:gd name="connsiteX0" fmla="*/ 0 w 138112"/>
                <a:gd name="connsiteY0" fmla="*/ 207169 h 276225"/>
                <a:gd name="connsiteX1" fmla="*/ 0 w 138112"/>
                <a:gd name="connsiteY1" fmla="*/ 69056 h 276225"/>
                <a:gd name="connsiteX2" fmla="*/ 0 w 138112"/>
                <a:gd name="connsiteY2" fmla="*/ 0 h 276225"/>
                <a:gd name="connsiteX3" fmla="*/ 138112 w 138112"/>
                <a:gd name="connsiteY3" fmla="*/ 138113 h 276225"/>
                <a:gd name="connsiteX4" fmla="*/ 0 w 138112"/>
                <a:gd name="connsiteY4" fmla="*/ 276225 h 276225"/>
                <a:gd name="connsiteX5" fmla="*/ 0 w 138112"/>
                <a:gd name="connsiteY5" fmla="*/ 207169 h 27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112" h="276225">
                  <a:moveTo>
                    <a:pt x="0" y="207169"/>
                  </a:moveTo>
                  <a:lnTo>
                    <a:pt x="0" y="69056"/>
                  </a:lnTo>
                  <a:lnTo>
                    <a:pt x="0" y="0"/>
                  </a:lnTo>
                  <a:lnTo>
                    <a:pt x="138112" y="138113"/>
                  </a:lnTo>
                  <a:lnTo>
                    <a:pt x="0" y="276225"/>
                  </a:lnTo>
                  <a:lnTo>
                    <a:pt x="0" y="20716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00"/>
            </a:p>
          </p:txBody>
        </p:sp>
      </p:grpSp>
      <p:sp>
        <p:nvSpPr>
          <p:cNvPr id="24" name="Rectangle 23"/>
          <p:cNvSpPr/>
          <p:nvPr/>
        </p:nvSpPr>
        <p:spPr>
          <a:xfrm>
            <a:off x="7049326" y="2806933"/>
            <a:ext cx="935262" cy="13664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0"/>
          </a:p>
        </p:txBody>
      </p:sp>
      <p:sp>
        <p:nvSpPr>
          <p:cNvPr id="26" name="TextBox 25"/>
          <p:cNvSpPr txBox="1"/>
          <p:nvPr/>
        </p:nvSpPr>
        <p:spPr>
          <a:xfrm>
            <a:off x="133809" y="1343839"/>
            <a:ext cx="722919" cy="353943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en-US" sz="1700" b="1" dirty="0">
                <a:solidFill>
                  <a:schemeClr val="bg1"/>
                </a:solidFill>
              </a:rPr>
              <a:t>2016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1316572" y="1343838"/>
            <a:ext cx="722919" cy="353943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en-US" sz="1700" b="1" dirty="0">
                <a:solidFill>
                  <a:schemeClr val="bg1"/>
                </a:solidFill>
              </a:rPr>
              <a:t>2028</a:t>
            </a:r>
          </a:p>
        </p:txBody>
      </p:sp>
      <p:sp>
        <p:nvSpPr>
          <p:cNvPr id="23" name="Rectangle 22"/>
          <p:cNvSpPr/>
          <p:nvPr/>
        </p:nvSpPr>
        <p:spPr>
          <a:xfrm>
            <a:off x="6112962" y="2806933"/>
            <a:ext cx="935262" cy="13664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0"/>
          </a:p>
        </p:txBody>
      </p:sp>
      <p:sp>
        <p:nvSpPr>
          <p:cNvPr id="36" name="Rectangle 35"/>
          <p:cNvSpPr/>
          <p:nvPr/>
        </p:nvSpPr>
        <p:spPr>
          <a:xfrm>
            <a:off x="501946" y="2806933"/>
            <a:ext cx="935262" cy="13664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0"/>
          </a:p>
        </p:txBody>
      </p:sp>
      <p:sp>
        <p:nvSpPr>
          <p:cNvPr id="67" name="Rectangle 66"/>
          <p:cNvSpPr/>
          <p:nvPr/>
        </p:nvSpPr>
        <p:spPr>
          <a:xfrm>
            <a:off x="11678033" y="2810053"/>
            <a:ext cx="287372" cy="13076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0"/>
          </a:p>
        </p:txBody>
      </p:sp>
      <p:sp>
        <p:nvSpPr>
          <p:cNvPr id="61" name="TextBox 60"/>
          <p:cNvSpPr txBox="1"/>
          <p:nvPr/>
        </p:nvSpPr>
        <p:spPr>
          <a:xfrm>
            <a:off x="9744174" y="2049134"/>
            <a:ext cx="2057853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900" b="1" dirty="0">
                <a:solidFill>
                  <a:schemeClr val="bg1"/>
                </a:solidFill>
              </a:rPr>
              <a:t>Beam Commissioning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3306400" y="2190786"/>
            <a:ext cx="1828800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900" b="1" dirty="0">
                <a:solidFill>
                  <a:schemeClr val="bg1"/>
                </a:solidFill>
              </a:rPr>
              <a:t>Design</a:t>
            </a:r>
          </a:p>
        </p:txBody>
      </p:sp>
      <p:cxnSp>
        <p:nvCxnSpPr>
          <p:cNvPr id="82" name="Straight Connector 81"/>
          <p:cNvCxnSpPr/>
          <p:nvPr/>
        </p:nvCxnSpPr>
        <p:spPr>
          <a:xfrm>
            <a:off x="5530797" y="2395016"/>
            <a:ext cx="7214" cy="1029058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9" name="Rectangle 88"/>
          <p:cNvSpPr/>
          <p:nvPr/>
        </p:nvSpPr>
        <p:spPr>
          <a:xfrm>
            <a:off x="5588948" y="2884074"/>
            <a:ext cx="3311803" cy="540000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0"/>
          </a:p>
        </p:txBody>
      </p:sp>
      <p:sp>
        <p:nvSpPr>
          <p:cNvPr id="136" name="TextBox 135"/>
          <p:cNvSpPr txBox="1"/>
          <p:nvPr/>
        </p:nvSpPr>
        <p:spPr>
          <a:xfrm>
            <a:off x="4980687" y="1338336"/>
            <a:ext cx="1155265" cy="353943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r>
              <a:rPr lang="en-US" sz="1700" b="1" dirty="0">
                <a:solidFill>
                  <a:schemeClr val="bg1"/>
                </a:solidFill>
              </a:rPr>
              <a:t>11/2022</a:t>
            </a:r>
          </a:p>
        </p:txBody>
      </p:sp>
      <p:sp>
        <p:nvSpPr>
          <p:cNvPr id="77" name="Title 3"/>
          <p:cNvSpPr txBox="1">
            <a:spLocks/>
          </p:cNvSpPr>
          <p:nvPr/>
        </p:nvSpPr>
        <p:spPr>
          <a:xfrm>
            <a:off x="484593" y="343017"/>
            <a:ext cx="12192000" cy="711201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2800" b="0" dirty="0"/>
              <a:t>Timeline </a:t>
            </a:r>
            <a:r>
              <a:rPr lang="en-150" sz="2800" b="0" dirty="0"/>
              <a:t>–</a:t>
            </a:r>
            <a:r>
              <a:rPr lang="nl-BE" sz="2800" b="0" dirty="0"/>
              <a:t> </a:t>
            </a:r>
            <a:r>
              <a:rPr lang="nl-BE" sz="2800" dirty="0" err="1"/>
              <a:t>phase</a:t>
            </a:r>
            <a:r>
              <a:rPr lang="nl-BE" sz="2800" dirty="0"/>
              <a:t> 1</a:t>
            </a:r>
            <a:endParaRPr lang="en-US" sz="2800" dirty="0">
              <a:solidFill>
                <a:srgbClr val="FF0000"/>
              </a:solidFill>
            </a:endParaRP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37" t="-2822" r="27420" b="2822"/>
          <a:stretch/>
        </p:blipFill>
        <p:spPr>
          <a:xfrm>
            <a:off x="9907532" y="3551274"/>
            <a:ext cx="1733055" cy="2075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9859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/>
        </p:nvGrpSpPr>
        <p:grpSpPr>
          <a:xfrm>
            <a:off x="182337" y="5309722"/>
            <a:ext cx="11827325" cy="1418433"/>
            <a:chOff x="182336" y="7877294"/>
            <a:chExt cx="11827325" cy="1418433"/>
          </a:xfrm>
        </p:grpSpPr>
        <p:sp>
          <p:nvSpPr>
            <p:cNvPr id="20" name="Oval 19"/>
            <p:cNvSpPr/>
            <p:nvPr/>
          </p:nvSpPr>
          <p:spPr>
            <a:xfrm rot="5400000">
              <a:off x="182336" y="787729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Oval 20"/>
            <p:cNvSpPr/>
            <p:nvPr/>
          </p:nvSpPr>
          <p:spPr>
            <a:xfrm rot="5400000">
              <a:off x="182336" y="847260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/>
            <p:cNvSpPr/>
            <p:nvPr/>
          </p:nvSpPr>
          <p:spPr>
            <a:xfrm rot="5400000">
              <a:off x="182336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Oval 22"/>
            <p:cNvSpPr/>
            <p:nvPr/>
          </p:nvSpPr>
          <p:spPr>
            <a:xfrm rot="5400000">
              <a:off x="483961" y="8174950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Oval 23"/>
            <p:cNvSpPr/>
            <p:nvPr/>
          </p:nvSpPr>
          <p:spPr>
            <a:xfrm rot="5400000">
              <a:off x="483961" y="847260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Oval 24"/>
            <p:cNvSpPr/>
            <p:nvPr/>
          </p:nvSpPr>
          <p:spPr>
            <a:xfrm rot="5400000">
              <a:off x="48396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Oval 25"/>
            <p:cNvSpPr/>
            <p:nvPr/>
          </p:nvSpPr>
          <p:spPr>
            <a:xfrm rot="5400000">
              <a:off x="77860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Oval 26"/>
            <p:cNvSpPr/>
            <p:nvPr/>
          </p:nvSpPr>
          <p:spPr>
            <a:xfrm rot="5400000">
              <a:off x="137092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Oval 27"/>
            <p:cNvSpPr/>
            <p:nvPr/>
          </p:nvSpPr>
          <p:spPr>
            <a:xfrm rot="5400000">
              <a:off x="166937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Oval 28"/>
            <p:cNvSpPr/>
            <p:nvPr/>
          </p:nvSpPr>
          <p:spPr>
            <a:xfrm rot="5400000">
              <a:off x="2266944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Oval 29"/>
            <p:cNvSpPr/>
            <p:nvPr/>
          </p:nvSpPr>
          <p:spPr>
            <a:xfrm rot="5400000">
              <a:off x="2565389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Oval 30"/>
            <p:cNvSpPr/>
            <p:nvPr/>
          </p:nvSpPr>
          <p:spPr>
            <a:xfrm rot="5400000">
              <a:off x="2565389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/>
            <p:cNvSpPr/>
            <p:nvPr/>
          </p:nvSpPr>
          <p:spPr>
            <a:xfrm rot="5400000">
              <a:off x="285983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32"/>
            <p:cNvSpPr/>
            <p:nvPr/>
          </p:nvSpPr>
          <p:spPr>
            <a:xfrm rot="5400000">
              <a:off x="285983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Oval 33"/>
            <p:cNvSpPr/>
            <p:nvPr/>
          </p:nvSpPr>
          <p:spPr>
            <a:xfrm rot="5400000">
              <a:off x="316365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Oval 34"/>
            <p:cNvSpPr/>
            <p:nvPr/>
          </p:nvSpPr>
          <p:spPr>
            <a:xfrm rot="5400000">
              <a:off x="316365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Oval 35"/>
            <p:cNvSpPr/>
            <p:nvPr/>
          </p:nvSpPr>
          <p:spPr>
            <a:xfrm rot="5400000">
              <a:off x="346092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Oval 36"/>
            <p:cNvSpPr/>
            <p:nvPr/>
          </p:nvSpPr>
          <p:spPr>
            <a:xfrm rot="5400000">
              <a:off x="374899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Oval 37"/>
            <p:cNvSpPr/>
            <p:nvPr/>
          </p:nvSpPr>
          <p:spPr>
            <a:xfrm rot="5400000">
              <a:off x="374899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Oval 38"/>
            <p:cNvSpPr/>
            <p:nvPr/>
          </p:nvSpPr>
          <p:spPr>
            <a:xfrm rot="5400000">
              <a:off x="4048119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Oval 39"/>
            <p:cNvSpPr/>
            <p:nvPr/>
          </p:nvSpPr>
          <p:spPr>
            <a:xfrm rot="5400000">
              <a:off x="4048119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Oval 40"/>
            <p:cNvSpPr/>
            <p:nvPr/>
          </p:nvSpPr>
          <p:spPr>
            <a:xfrm rot="5400000">
              <a:off x="4346564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Oval 41"/>
            <p:cNvSpPr/>
            <p:nvPr/>
          </p:nvSpPr>
          <p:spPr>
            <a:xfrm rot="5400000">
              <a:off x="4346564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Oval 42"/>
            <p:cNvSpPr/>
            <p:nvPr/>
          </p:nvSpPr>
          <p:spPr>
            <a:xfrm rot="5400000">
              <a:off x="464100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Oval 43"/>
            <p:cNvSpPr/>
            <p:nvPr/>
          </p:nvSpPr>
          <p:spPr>
            <a:xfrm rot="5400000">
              <a:off x="4944825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Oval 44"/>
            <p:cNvSpPr/>
            <p:nvPr/>
          </p:nvSpPr>
          <p:spPr>
            <a:xfrm rot="5400000">
              <a:off x="494482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Oval 45"/>
            <p:cNvSpPr/>
            <p:nvPr/>
          </p:nvSpPr>
          <p:spPr>
            <a:xfrm rot="5400000">
              <a:off x="5242096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Oval 46"/>
            <p:cNvSpPr/>
            <p:nvPr/>
          </p:nvSpPr>
          <p:spPr>
            <a:xfrm rot="5400000">
              <a:off x="5535386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Oval 47"/>
            <p:cNvSpPr/>
            <p:nvPr/>
          </p:nvSpPr>
          <p:spPr>
            <a:xfrm rot="5400000">
              <a:off x="5535386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Oval 48"/>
            <p:cNvSpPr/>
            <p:nvPr/>
          </p:nvSpPr>
          <p:spPr>
            <a:xfrm rot="5400000">
              <a:off x="583701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Oval 49"/>
            <p:cNvSpPr/>
            <p:nvPr/>
          </p:nvSpPr>
          <p:spPr>
            <a:xfrm rot="5400000">
              <a:off x="5837011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Oval 50"/>
            <p:cNvSpPr/>
            <p:nvPr/>
          </p:nvSpPr>
          <p:spPr>
            <a:xfrm rot="5400000">
              <a:off x="613165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Oval 51"/>
            <p:cNvSpPr/>
            <p:nvPr/>
          </p:nvSpPr>
          <p:spPr>
            <a:xfrm rot="5400000">
              <a:off x="6131651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Oval 52"/>
            <p:cNvSpPr/>
            <p:nvPr/>
          </p:nvSpPr>
          <p:spPr>
            <a:xfrm rot="5400000">
              <a:off x="6428922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Oval 53"/>
            <p:cNvSpPr/>
            <p:nvPr/>
          </p:nvSpPr>
          <p:spPr>
            <a:xfrm rot="5400000">
              <a:off x="672397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Oval 54"/>
            <p:cNvSpPr/>
            <p:nvPr/>
          </p:nvSpPr>
          <p:spPr>
            <a:xfrm rot="5400000">
              <a:off x="672397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Oval 55"/>
            <p:cNvSpPr/>
            <p:nvPr/>
          </p:nvSpPr>
          <p:spPr>
            <a:xfrm rot="5400000">
              <a:off x="702242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Oval 56"/>
            <p:cNvSpPr/>
            <p:nvPr/>
          </p:nvSpPr>
          <p:spPr>
            <a:xfrm rot="5400000">
              <a:off x="702242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Oval 57"/>
            <p:cNvSpPr/>
            <p:nvPr/>
          </p:nvSpPr>
          <p:spPr>
            <a:xfrm rot="5400000">
              <a:off x="732086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Oval 58"/>
            <p:cNvSpPr/>
            <p:nvPr/>
          </p:nvSpPr>
          <p:spPr>
            <a:xfrm rot="5400000">
              <a:off x="7619994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Oval 59"/>
            <p:cNvSpPr/>
            <p:nvPr/>
          </p:nvSpPr>
          <p:spPr>
            <a:xfrm rot="5400000">
              <a:off x="7619994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Oval 60"/>
            <p:cNvSpPr/>
            <p:nvPr/>
          </p:nvSpPr>
          <p:spPr>
            <a:xfrm rot="5400000">
              <a:off x="7918439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Oval 61"/>
            <p:cNvSpPr/>
            <p:nvPr/>
          </p:nvSpPr>
          <p:spPr>
            <a:xfrm rot="5400000">
              <a:off x="7918439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Oval 62"/>
            <p:cNvSpPr/>
            <p:nvPr/>
          </p:nvSpPr>
          <p:spPr>
            <a:xfrm rot="5400000">
              <a:off x="821288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Oval 63"/>
            <p:cNvSpPr/>
            <p:nvPr/>
          </p:nvSpPr>
          <p:spPr>
            <a:xfrm rot="5400000">
              <a:off x="821288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Oval 64"/>
            <p:cNvSpPr/>
            <p:nvPr/>
          </p:nvSpPr>
          <p:spPr>
            <a:xfrm rot="5400000">
              <a:off x="851670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Oval 65"/>
            <p:cNvSpPr/>
            <p:nvPr/>
          </p:nvSpPr>
          <p:spPr>
            <a:xfrm rot="5400000">
              <a:off x="851670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Oval 66"/>
            <p:cNvSpPr/>
            <p:nvPr/>
          </p:nvSpPr>
          <p:spPr>
            <a:xfrm rot="5400000">
              <a:off x="881397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Oval 67"/>
            <p:cNvSpPr/>
            <p:nvPr/>
          </p:nvSpPr>
          <p:spPr>
            <a:xfrm rot="5400000">
              <a:off x="910204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Oval 68"/>
            <p:cNvSpPr/>
            <p:nvPr/>
          </p:nvSpPr>
          <p:spPr>
            <a:xfrm rot="5400000">
              <a:off x="910204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Oval 69"/>
            <p:cNvSpPr/>
            <p:nvPr/>
          </p:nvSpPr>
          <p:spPr>
            <a:xfrm rot="5400000">
              <a:off x="9401169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Oval 70"/>
            <p:cNvSpPr/>
            <p:nvPr/>
          </p:nvSpPr>
          <p:spPr>
            <a:xfrm rot="5400000">
              <a:off x="9401169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Oval 71"/>
            <p:cNvSpPr/>
            <p:nvPr/>
          </p:nvSpPr>
          <p:spPr>
            <a:xfrm rot="5400000">
              <a:off x="9699614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Oval 72"/>
            <p:cNvSpPr/>
            <p:nvPr/>
          </p:nvSpPr>
          <p:spPr>
            <a:xfrm rot="5400000">
              <a:off x="9699614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Oval 73"/>
            <p:cNvSpPr/>
            <p:nvPr/>
          </p:nvSpPr>
          <p:spPr>
            <a:xfrm rot="5400000">
              <a:off x="999405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Oval 74"/>
            <p:cNvSpPr/>
            <p:nvPr/>
          </p:nvSpPr>
          <p:spPr>
            <a:xfrm rot="5400000">
              <a:off x="10297875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Oval 75"/>
            <p:cNvSpPr/>
            <p:nvPr/>
          </p:nvSpPr>
          <p:spPr>
            <a:xfrm rot="5400000">
              <a:off x="1029787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Oval 76"/>
            <p:cNvSpPr/>
            <p:nvPr/>
          </p:nvSpPr>
          <p:spPr>
            <a:xfrm rot="5400000">
              <a:off x="10595146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Oval 77"/>
            <p:cNvSpPr/>
            <p:nvPr/>
          </p:nvSpPr>
          <p:spPr>
            <a:xfrm rot="5400000">
              <a:off x="10888318" y="877026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Oval 78"/>
            <p:cNvSpPr/>
            <p:nvPr/>
          </p:nvSpPr>
          <p:spPr>
            <a:xfrm rot="5400000">
              <a:off x="10888318" y="9067920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Oval 79"/>
            <p:cNvSpPr/>
            <p:nvPr/>
          </p:nvSpPr>
          <p:spPr>
            <a:xfrm rot="5400000">
              <a:off x="11189943" y="877026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Oval 80"/>
            <p:cNvSpPr/>
            <p:nvPr/>
          </p:nvSpPr>
          <p:spPr>
            <a:xfrm rot="5400000">
              <a:off x="11189943" y="9067920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" name="Oval 81"/>
            <p:cNvSpPr/>
            <p:nvPr/>
          </p:nvSpPr>
          <p:spPr>
            <a:xfrm rot="5400000">
              <a:off x="11484583" y="787729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Oval 82"/>
            <p:cNvSpPr/>
            <p:nvPr userDrawn="1"/>
          </p:nvSpPr>
          <p:spPr>
            <a:xfrm rot="5400000">
              <a:off x="11484583" y="817495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Oval 83"/>
            <p:cNvSpPr/>
            <p:nvPr/>
          </p:nvSpPr>
          <p:spPr>
            <a:xfrm rot="5400000">
              <a:off x="11484583" y="877026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" name="Oval 84"/>
            <p:cNvSpPr/>
            <p:nvPr/>
          </p:nvSpPr>
          <p:spPr>
            <a:xfrm rot="5400000">
              <a:off x="11781854" y="817495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66762" y="425661"/>
            <a:ext cx="10658475" cy="711201"/>
          </a:xfrm>
        </p:spPr>
        <p:txBody>
          <a:bodyPr>
            <a:noAutofit/>
          </a:bodyPr>
          <a:lstStyle/>
          <a:p>
            <a:r>
              <a:rPr lang="en-US" dirty="0"/>
              <a:t>Advanced treatment of nuclear waste</a:t>
            </a:r>
            <a:r>
              <a:rPr lang="en-US" sz="3200" dirty="0"/>
              <a:t/>
            </a:r>
            <a:br>
              <a:rPr lang="en-US" sz="3200" dirty="0"/>
            </a:br>
            <a:r>
              <a:rPr lang="en-GB" sz="2600" b="0" i="1" dirty="0"/>
              <a:t>Recycling of high level radioactive waste by P&amp;T</a:t>
            </a:r>
            <a:r>
              <a:rPr lang="en-US" sz="3200" dirty="0"/>
              <a:t/>
            </a:r>
            <a:br>
              <a:rPr lang="en-US" sz="3200" dirty="0"/>
            </a:br>
            <a:endParaRPr lang="en-US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66762" y="1638300"/>
            <a:ext cx="5078105" cy="698501"/>
          </a:xfrm>
        </p:spPr>
        <p:txBody>
          <a:bodyPr>
            <a:noAutofit/>
          </a:bodyPr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Partitioning (P)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9" name="Text Placeholder 4"/>
          <p:cNvSpPr txBox="1">
            <a:spLocks/>
          </p:cNvSpPr>
          <p:nvPr/>
        </p:nvSpPr>
        <p:spPr>
          <a:xfrm>
            <a:off x="6358635" y="1638299"/>
            <a:ext cx="5078105" cy="698501"/>
          </a:xfrm>
          <a:prstGeom prst="rect">
            <a:avLst/>
          </a:prstGeom>
        </p:spPr>
        <p:txBody>
          <a:bodyPr vert="horz" lIns="0" tIns="0" rIns="0" bIns="9144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Tx/>
              <a:buNone/>
              <a:defRPr sz="2800" b="0" kern="1200">
                <a:solidFill>
                  <a:schemeClr val="accent1"/>
                </a:solidFill>
                <a:latin typeface="Georgia" panose="02040502050405020303" pitchFamily="18" charset="0"/>
                <a:ea typeface="+mn-ea"/>
                <a:cs typeface="Segoe UI Semibold" panose="020B0702040204020203" pitchFamily="34" charset="0"/>
              </a:defRPr>
            </a:lvl1pPr>
            <a:lvl2pPr marL="6223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6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29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>
                <a:solidFill>
                  <a:schemeClr val="tx1"/>
                </a:solidFill>
              </a:rPr>
              <a:t>Transmutation (T)</a:t>
            </a:r>
          </a:p>
          <a:p>
            <a:pPr marL="457200" indent="-457200" algn="ctr">
              <a:buClrTx/>
              <a:buFont typeface="Wingdings" panose="05000000000000000000" pitchFamily="2" charset="2"/>
              <a:buChar char="Ø"/>
            </a:pPr>
            <a:endParaRPr lang="en-US" sz="2600" dirty="0">
              <a:solidFill>
                <a:schemeClr val="tx1"/>
              </a:solidFill>
            </a:endParaRPr>
          </a:p>
        </p:txBody>
      </p:sp>
      <p:pic>
        <p:nvPicPr>
          <p:cNvPr id="11" name="Picture 9" descr="Kids Recycling Images – Browse 24,120 Stock Photos, Vectors, and Video |  Adobe Stock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67"/>
          <a:stretch/>
        </p:blipFill>
        <p:spPr bwMode="auto">
          <a:xfrm>
            <a:off x="327078" y="2336800"/>
            <a:ext cx="2816860" cy="2062886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2827365" y="3774906"/>
            <a:ext cx="603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VS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546919" y="5638089"/>
            <a:ext cx="5517789" cy="698501"/>
          </a:xfrm>
        </p:spPr>
        <p:txBody>
          <a:bodyPr>
            <a:noAutofit/>
          </a:bodyPr>
          <a:lstStyle/>
          <a:p>
            <a:pPr>
              <a:buClrTx/>
            </a:pPr>
            <a:r>
              <a:rPr lang="en-US" sz="1800" dirty="0">
                <a:solidFill>
                  <a:schemeClr val="tx1"/>
                </a:solidFill>
              </a:rPr>
              <a:t>Separate the ingredients of the spent fuel in “similar” categories we can treat in a similar way</a:t>
            </a:r>
            <a:r>
              <a:rPr lang="en-US" sz="2600" dirty="0">
                <a:solidFill>
                  <a:schemeClr val="tx1"/>
                </a:solidFill>
              </a:rPr>
              <a:t> </a:t>
            </a:r>
          </a:p>
        </p:txBody>
      </p:sp>
      <p:pic>
        <p:nvPicPr>
          <p:cNvPr id="14" name="Picture 13" descr="Antwerp Diamonds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1" r="12140"/>
          <a:stretch/>
        </p:blipFill>
        <p:spPr bwMode="auto">
          <a:xfrm>
            <a:off x="6190266" y="2336800"/>
            <a:ext cx="2879276" cy="1961769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11" r="8889"/>
          <a:stretch/>
        </p:blipFill>
        <p:spPr>
          <a:xfrm>
            <a:off x="8902856" y="3610950"/>
            <a:ext cx="2818447" cy="197291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6" name="TextBox 15"/>
          <p:cNvSpPr txBox="1"/>
          <p:nvPr/>
        </p:nvSpPr>
        <p:spPr>
          <a:xfrm>
            <a:off x="8767918" y="3831357"/>
            <a:ext cx="603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VS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358635" y="5512807"/>
            <a:ext cx="5517789" cy="698501"/>
          </a:xfrm>
        </p:spPr>
        <p:txBody>
          <a:bodyPr>
            <a:noAutofit/>
          </a:bodyPr>
          <a:lstStyle/>
          <a:p>
            <a:pPr>
              <a:buClrTx/>
            </a:pPr>
            <a:r>
              <a:rPr lang="en-US" sz="1800" dirty="0">
                <a:solidFill>
                  <a:schemeClr val="tx1"/>
                </a:solidFill>
              </a:rPr>
              <a:t>Use intense neutron field to transmute isotopes into others, less “nasty” and producing energy (circular economy)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6064708" y="1540419"/>
            <a:ext cx="0" cy="5017697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</p:spPr>
        <p:txBody>
          <a:bodyPr/>
          <a:lstStyle/>
          <a:p>
            <a:fld id="{A814E660-BF25-4843-B2A0-93C6E2B6253B}" type="slidenum">
              <a:rPr lang="en-BE" smtClean="0"/>
              <a:pPr/>
              <a:t>3</a:t>
            </a:fld>
            <a:endParaRPr lang="en-BE" dirty="0"/>
          </a:p>
        </p:txBody>
      </p:sp>
      <p:pic>
        <p:nvPicPr>
          <p:cNvPr id="86" name="Picture 8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81829" y="3689436"/>
            <a:ext cx="2727758" cy="186883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641583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5"/>
          </p:nvPr>
        </p:nvSpPr>
        <p:spPr>
          <a:xfrm>
            <a:off x="45409" y="761810"/>
            <a:ext cx="11972420" cy="5563443"/>
          </a:xfrm>
        </p:spPr>
        <p:txBody>
          <a:bodyPr>
            <a:normAutofit/>
          </a:bodyPr>
          <a:lstStyle/>
          <a:p>
            <a:r>
              <a:rPr lang="en-US" dirty="0"/>
              <a:t>MYRRHA Phase 1 is funded and currently implemented</a:t>
            </a:r>
          </a:p>
          <a:p>
            <a:r>
              <a:rPr lang="en-US" dirty="0"/>
              <a:t>International not-for-profit organization established since 2022 </a:t>
            </a:r>
          </a:p>
          <a:p>
            <a:r>
              <a:rPr lang="en-US" dirty="0"/>
              <a:t>Inviting interested parties (countries, organizations, companies) to join MYRRHA</a:t>
            </a:r>
          </a:p>
          <a:p>
            <a:endParaRPr lang="en-US" dirty="0"/>
          </a:p>
          <a:p>
            <a:r>
              <a:rPr lang="en-US" dirty="0"/>
              <a:t>Design consolidation of accelerator optics &amp; components being finalized</a:t>
            </a:r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814E660-BF25-4843-B2A0-93C6E2B6253B}" type="slidenum">
              <a:rPr lang="en-BE" smtClean="0"/>
              <a:pPr/>
              <a:t>30</a:t>
            </a:fld>
            <a:endParaRPr lang="en-B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Summary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73016" y="4002105"/>
            <a:ext cx="4814833" cy="2708344"/>
          </a:xfrm>
          <a:prstGeom prst="rect">
            <a:avLst/>
          </a:prstGeom>
        </p:spPr>
      </p:pic>
      <p:sp>
        <p:nvSpPr>
          <p:cNvPr id="7" name="Text Placeholder 1"/>
          <p:cNvSpPr txBox="1">
            <a:spLocks/>
          </p:cNvSpPr>
          <p:nvPr/>
        </p:nvSpPr>
        <p:spPr>
          <a:xfrm>
            <a:off x="45409" y="4004735"/>
            <a:ext cx="5803848" cy="30733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55600" indent="-2667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8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23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239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None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76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3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129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lang="en-US" sz="18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irst series components in production</a:t>
            </a:r>
          </a:p>
          <a:p>
            <a:r>
              <a:rPr lang="en-US" dirty="0"/>
              <a:t>Heavily relying on collaborations &amp; industry</a:t>
            </a:r>
          </a:p>
          <a:p>
            <a:endParaRPr lang="en-US" dirty="0"/>
          </a:p>
          <a:p>
            <a:pPr lvl="1"/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9759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7E3396F7-E7CA-46F8-9F2B-7BCB0D71C86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980433" y="6479665"/>
            <a:ext cx="2743200" cy="143176"/>
          </a:xfrm>
          <a:prstGeom prst="rect">
            <a:avLst/>
          </a:prstGeom>
        </p:spPr>
        <p:txBody>
          <a:bodyPr/>
          <a:lstStyle/>
          <a:p>
            <a:fld id="{A814E660-BF25-4843-B2A0-93C6E2B6253B}" type="slidenum">
              <a:rPr lang="en-BE" sz="9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31</a:t>
            </a:fld>
            <a:endParaRPr lang="en-BE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92" name="Rectangle 691"/>
          <p:cNvSpPr/>
          <p:nvPr/>
        </p:nvSpPr>
        <p:spPr>
          <a:xfrm>
            <a:off x="952500" y="661750"/>
            <a:ext cx="10287000" cy="53707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</a:pPr>
            <a:r>
              <a:rPr lang="en-GB" sz="2000" b="1" dirty="0">
                <a:solidFill>
                  <a:schemeClr val="accent2"/>
                </a:solidFill>
              </a:rPr>
              <a:t>Copyright © </a:t>
            </a:r>
            <a:r>
              <a:rPr lang="en-GB" sz="2000" b="1">
                <a:solidFill>
                  <a:schemeClr val="accent2"/>
                </a:solidFill>
              </a:rPr>
              <a:t>SCK</a:t>
            </a:r>
            <a:r>
              <a:rPr lang="en-GB" sz="2000" b="1">
                <a:solidFill>
                  <a:schemeClr val="accent2"/>
                </a:solidFill>
                <a:sym typeface="Wingdings" pitchFamily="2" charset="2"/>
              </a:rPr>
              <a:t> </a:t>
            </a:r>
            <a:r>
              <a:rPr lang="en-GB" sz="2000" b="1">
                <a:solidFill>
                  <a:schemeClr val="accent2"/>
                </a:solidFill>
              </a:rPr>
              <a:t>CEN</a:t>
            </a:r>
          </a:p>
          <a:p>
            <a:pPr algn="ctr">
              <a:spcBef>
                <a:spcPct val="0"/>
              </a:spcBef>
            </a:pPr>
            <a:endParaRPr lang="en-GB" sz="2000" b="1" dirty="0">
              <a:solidFill>
                <a:schemeClr val="accent2"/>
              </a:solidFill>
            </a:endParaRPr>
          </a:p>
          <a:p>
            <a:pPr algn="ctr">
              <a:spcBef>
                <a:spcPct val="0"/>
              </a:spcBef>
            </a:pPr>
            <a:r>
              <a:rPr lang="en-US" sz="1600" dirty="0">
                <a:solidFill>
                  <a:schemeClr val="accent1"/>
                </a:solidFill>
                <a:latin typeface="Georgia" panose="02040502050405020303" pitchFamily="18" charset="0"/>
              </a:rPr>
              <a:t>All property rights and copyright are reserved.</a:t>
            </a:r>
            <a:endParaRPr lang="en-GB" sz="1600" dirty="0">
              <a:solidFill>
                <a:schemeClr val="accent1"/>
              </a:solidFill>
              <a:latin typeface="Georgia" panose="02040502050405020303" pitchFamily="18" charset="0"/>
            </a:endParaRPr>
          </a:p>
          <a:p>
            <a:pPr algn="ctr">
              <a:spcBef>
                <a:spcPct val="0"/>
              </a:spcBef>
            </a:pPr>
            <a:endParaRPr lang="en-GB" sz="1400" b="1" dirty="0"/>
          </a:p>
          <a:p>
            <a:pPr algn="ctr">
              <a:spcBef>
                <a:spcPct val="0"/>
              </a:spcBef>
            </a:pPr>
            <a:r>
              <a:rPr lang="en-US" sz="1200" dirty="0"/>
              <a:t>This presentation contains data, information and formats for dedicated use only and may not be communicated, copied, reproduced, distributed or cited without the explicit written permission of SCK CEN.</a:t>
            </a:r>
          </a:p>
          <a:p>
            <a:pPr algn="ctr">
              <a:spcBef>
                <a:spcPct val="0"/>
              </a:spcBef>
            </a:pPr>
            <a:r>
              <a:rPr lang="en-US" sz="1200" dirty="0"/>
              <a:t>If this explicit written permission has been obtained, please reference the author, followed by ‘by courtesy of SCK CEN’.</a:t>
            </a:r>
          </a:p>
          <a:p>
            <a:pPr algn="ctr">
              <a:spcBef>
                <a:spcPct val="0"/>
              </a:spcBef>
            </a:pPr>
            <a:endParaRPr lang="en-US" sz="1200" dirty="0"/>
          </a:p>
          <a:p>
            <a:pPr algn="ctr">
              <a:spcBef>
                <a:spcPct val="0"/>
              </a:spcBef>
            </a:pPr>
            <a:r>
              <a:rPr lang="en-US" sz="1200" dirty="0"/>
              <a:t>Any infringement to this rule is illegal and entitles to claim damages from the infringer, without prejudice to any other right in case of granting a patent or registration in the field of intellectual property.</a:t>
            </a:r>
          </a:p>
          <a:p>
            <a:pPr algn="ctr">
              <a:spcBef>
                <a:spcPct val="0"/>
              </a:spcBef>
            </a:pPr>
            <a:endParaRPr lang="en-GB" sz="1200" dirty="0"/>
          </a:p>
          <a:p>
            <a:pPr algn="ctr">
              <a:spcBef>
                <a:spcPct val="0"/>
              </a:spcBef>
            </a:pPr>
            <a:endParaRPr lang="en-GB" sz="1200" dirty="0"/>
          </a:p>
          <a:p>
            <a:pPr algn="ctr">
              <a:spcBef>
                <a:spcPct val="0"/>
              </a:spcBef>
            </a:pPr>
            <a:r>
              <a:rPr lang="en-GB" sz="1200" b="1" dirty="0"/>
              <a:t>SCK CEN</a:t>
            </a:r>
          </a:p>
          <a:p>
            <a:pPr algn="ctr">
              <a:spcBef>
                <a:spcPct val="0"/>
              </a:spcBef>
            </a:pPr>
            <a:r>
              <a:rPr lang="en-GB" sz="1200" dirty="0"/>
              <a:t>Belgian Nuclear </a:t>
            </a:r>
            <a:r>
              <a:rPr lang="en-US" sz="1200" dirty="0"/>
              <a:t>Research</a:t>
            </a:r>
            <a:r>
              <a:rPr lang="en-GB" sz="1200" dirty="0"/>
              <a:t> Centre</a:t>
            </a:r>
          </a:p>
          <a:p>
            <a:pPr algn="ctr">
              <a:spcBef>
                <a:spcPct val="0"/>
              </a:spcBef>
            </a:pPr>
            <a:r>
              <a:rPr lang="en-GB" sz="1050" dirty="0" err="1"/>
              <a:t>Studiecentrum</a:t>
            </a:r>
            <a:r>
              <a:rPr lang="en-GB" sz="1050" dirty="0"/>
              <a:t> </a:t>
            </a:r>
            <a:r>
              <a:rPr lang="en-GB" sz="1050" dirty="0" err="1"/>
              <a:t>voor</a:t>
            </a:r>
            <a:r>
              <a:rPr lang="en-GB" sz="1050" dirty="0"/>
              <a:t> </a:t>
            </a:r>
            <a:r>
              <a:rPr lang="en-GB" sz="1050" dirty="0" err="1"/>
              <a:t>Kernenergie</a:t>
            </a:r>
            <a:endParaRPr lang="en-GB" sz="1050" dirty="0"/>
          </a:p>
          <a:p>
            <a:pPr algn="ctr">
              <a:spcBef>
                <a:spcPct val="0"/>
              </a:spcBef>
            </a:pPr>
            <a:r>
              <a:rPr lang="en-GB" sz="1050" dirty="0"/>
              <a:t>Centre </a:t>
            </a:r>
            <a:r>
              <a:rPr lang="en-GB" sz="1050" dirty="0" err="1"/>
              <a:t>d'Etude</a:t>
            </a:r>
            <a:r>
              <a:rPr lang="en-GB" sz="1050" dirty="0"/>
              <a:t> de </a:t>
            </a:r>
            <a:r>
              <a:rPr lang="en-GB" sz="1050" dirty="0" err="1"/>
              <a:t>l'Energie</a:t>
            </a:r>
            <a:r>
              <a:rPr lang="en-GB" sz="1050" dirty="0"/>
              <a:t> </a:t>
            </a:r>
            <a:r>
              <a:rPr lang="en-GB" sz="1050" dirty="0" err="1"/>
              <a:t>Nucléaire</a:t>
            </a:r>
            <a:endParaRPr lang="en-GB" sz="1050" dirty="0"/>
          </a:p>
          <a:p>
            <a:pPr algn="ctr">
              <a:spcBef>
                <a:spcPct val="0"/>
              </a:spcBef>
            </a:pPr>
            <a:endParaRPr lang="en-GB" sz="1200" dirty="0"/>
          </a:p>
          <a:p>
            <a:pPr algn="ctr">
              <a:spcBef>
                <a:spcPct val="0"/>
              </a:spcBef>
            </a:pPr>
            <a:r>
              <a:rPr lang="en-GB" sz="1000" dirty="0"/>
              <a:t>Foundation of Public Utility</a:t>
            </a:r>
            <a:endParaRPr lang="en-GB" sz="1200" dirty="0"/>
          </a:p>
          <a:p>
            <a:pPr algn="ctr">
              <a:spcBef>
                <a:spcPct val="0"/>
              </a:spcBef>
            </a:pPr>
            <a:r>
              <a:rPr lang="en-GB" sz="1000" dirty="0" err="1"/>
              <a:t>Stichting</a:t>
            </a:r>
            <a:r>
              <a:rPr lang="en-GB" sz="1000" dirty="0"/>
              <a:t> van </a:t>
            </a:r>
            <a:r>
              <a:rPr lang="en-GB" sz="1000" dirty="0" err="1"/>
              <a:t>Openbaar</a:t>
            </a:r>
            <a:r>
              <a:rPr lang="en-GB" sz="1000" dirty="0"/>
              <a:t> Nut </a:t>
            </a:r>
          </a:p>
          <a:p>
            <a:pPr algn="ctr">
              <a:spcBef>
                <a:spcPct val="0"/>
              </a:spcBef>
            </a:pPr>
            <a:r>
              <a:rPr lang="en-GB" sz="1000" dirty="0" err="1"/>
              <a:t>Fondation</a:t>
            </a:r>
            <a:r>
              <a:rPr lang="en-GB" sz="1000" dirty="0"/>
              <a:t> </a:t>
            </a:r>
            <a:r>
              <a:rPr lang="en-GB" sz="1000" dirty="0" err="1"/>
              <a:t>d'Utilité</a:t>
            </a:r>
            <a:r>
              <a:rPr lang="en-GB" sz="1000" dirty="0"/>
              <a:t> </a:t>
            </a:r>
            <a:r>
              <a:rPr lang="en-GB" sz="1000" dirty="0" err="1"/>
              <a:t>Publique</a:t>
            </a:r>
            <a:r>
              <a:rPr lang="en-GB" sz="1000" dirty="0"/>
              <a:t> </a:t>
            </a:r>
          </a:p>
          <a:p>
            <a:pPr algn="ctr">
              <a:spcBef>
                <a:spcPct val="0"/>
              </a:spcBef>
            </a:pPr>
            <a:endParaRPr lang="en-GB" sz="1200" dirty="0"/>
          </a:p>
          <a:p>
            <a:pPr algn="ctr">
              <a:spcBef>
                <a:spcPct val="0"/>
              </a:spcBef>
            </a:pPr>
            <a:r>
              <a:rPr lang="en-GB" sz="1100" b="1" dirty="0"/>
              <a:t>Registered Office:</a:t>
            </a:r>
          </a:p>
          <a:p>
            <a:pPr algn="ctr">
              <a:spcBef>
                <a:spcPct val="0"/>
              </a:spcBef>
            </a:pPr>
            <a:r>
              <a:rPr lang="en-GB" sz="1100" dirty="0"/>
              <a:t>Avenue Herrmann-</a:t>
            </a:r>
            <a:r>
              <a:rPr lang="en-GB" sz="1100" dirty="0" err="1"/>
              <a:t>Debrouxlaan</a:t>
            </a:r>
            <a:r>
              <a:rPr lang="en-GB" sz="1100" dirty="0"/>
              <a:t> 40 - 1160 BRUSSELS - Belgium</a:t>
            </a:r>
          </a:p>
          <a:p>
            <a:pPr algn="ctr">
              <a:spcBef>
                <a:spcPct val="0"/>
              </a:spcBef>
            </a:pPr>
            <a:endParaRPr lang="en-GB" sz="1100" dirty="0"/>
          </a:p>
          <a:p>
            <a:pPr algn="ctr">
              <a:spcBef>
                <a:spcPct val="0"/>
              </a:spcBef>
            </a:pPr>
            <a:r>
              <a:rPr lang="en-GB" sz="1100" b="1" dirty="0"/>
              <a:t>Research Centres:</a:t>
            </a:r>
          </a:p>
          <a:p>
            <a:pPr algn="ctr">
              <a:spcBef>
                <a:spcPct val="0"/>
              </a:spcBef>
            </a:pPr>
            <a:r>
              <a:rPr lang="en-GB" sz="1100" dirty="0" err="1"/>
              <a:t>Boeretang</a:t>
            </a:r>
            <a:r>
              <a:rPr lang="en-GB" sz="1100" dirty="0"/>
              <a:t> 200 - 2400 MOL - Belgium</a:t>
            </a:r>
          </a:p>
          <a:p>
            <a:pPr algn="ctr">
              <a:spcBef>
                <a:spcPct val="0"/>
              </a:spcBef>
            </a:pPr>
            <a:r>
              <a:rPr lang="fr-FR" sz="1100" dirty="0"/>
              <a:t>Chemin du Cyclotron 6 - 1348 Ottignies-Louvain-la-Neuve - </a:t>
            </a:r>
            <a:r>
              <a:rPr lang="fr-FR" sz="1100" dirty="0" err="1"/>
              <a:t>Belgium</a:t>
            </a:r>
            <a:endParaRPr lang="fr-FR" sz="1100" dirty="0"/>
          </a:p>
          <a:p>
            <a:pPr algn="ctr">
              <a:spcBef>
                <a:spcPct val="0"/>
              </a:spcBef>
            </a:pP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1819174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4" name="Group 173"/>
          <p:cNvGrpSpPr/>
          <p:nvPr/>
        </p:nvGrpSpPr>
        <p:grpSpPr>
          <a:xfrm>
            <a:off x="182337" y="5309722"/>
            <a:ext cx="11827325" cy="1418433"/>
            <a:chOff x="182336" y="7877294"/>
            <a:chExt cx="11827325" cy="1418433"/>
          </a:xfrm>
        </p:grpSpPr>
        <p:sp>
          <p:nvSpPr>
            <p:cNvPr id="175" name="Oval 174"/>
            <p:cNvSpPr/>
            <p:nvPr/>
          </p:nvSpPr>
          <p:spPr>
            <a:xfrm rot="5400000">
              <a:off x="182336" y="787729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7" name="Oval 176"/>
            <p:cNvSpPr/>
            <p:nvPr/>
          </p:nvSpPr>
          <p:spPr>
            <a:xfrm rot="5400000">
              <a:off x="182336" y="847260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8" name="Oval 177"/>
            <p:cNvSpPr/>
            <p:nvPr/>
          </p:nvSpPr>
          <p:spPr>
            <a:xfrm rot="5400000">
              <a:off x="182336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9" name="Oval 178"/>
            <p:cNvSpPr/>
            <p:nvPr/>
          </p:nvSpPr>
          <p:spPr>
            <a:xfrm rot="5400000">
              <a:off x="483961" y="8174950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0" name="Oval 179"/>
            <p:cNvSpPr/>
            <p:nvPr/>
          </p:nvSpPr>
          <p:spPr>
            <a:xfrm rot="5400000">
              <a:off x="483961" y="847260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1" name="Oval 180"/>
            <p:cNvSpPr/>
            <p:nvPr/>
          </p:nvSpPr>
          <p:spPr>
            <a:xfrm rot="5400000">
              <a:off x="48396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2" name="Oval 181"/>
            <p:cNvSpPr/>
            <p:nvPr/>
          </p:nvSpPr>
          <p:spPr>
            <a:xfrm rot="5400000">
              <a:off x="77860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3" name="Oval 182"/>
            <p:cNvSpPr/>
            <p:nvPr/>
          </p:nvSpPr>
          <p:spPr>
            <a:xfrm rot="5400000">
              <a:off x="137092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4" name="Oval 183"/>
            <p:cNvSpPr/>
            <p:nvPr/>
          </p:nvSpPr>
          <p:spPr>
            <a:xfrm rot="5400000">
              <a:off x="166937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5" name="Oval 184"/>
            <p:cNvSpPr/>
            <p:nvPr/>
          </p:nvSpPr>
          <p:spPr>
            <a:xfrm rot="5400000">
              <a:off x="2266944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6" name="Oval 185"/>
            <p:cNvSpPr/>
            <p:nvPr/>
          </p:nvSpPr>
          <p:spPr>
            <a:xfrm rot="5400000">
              <a:off x="2565389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7" name="Oval 186"/>
            <p:cNvSpPr/>
            <p:nvPr/>
          </p:nvSpPr>
          <p:spPr>
            <a:xfrm rot="5400000">
              <a:off x="2565389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8" name="Oval 187"/>
            <p:cNvSpPr/>
            <p:nvPr/>
          </p:nvSpPr>
          <p:spPr>
            <a:xfrm rot="5400000">
              <a:off x="285983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9" name="Oval 188"/>
            <p:cNvSpPr/>
            <p:nvPr/>
          </p:nvSpPr>
          <p:spPr>
            <a:xfrm rot="5400000">
              <a:off x="285983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0" name="Oval 189"/>
            <p:cNvSpPr/>
            <p:nvPr/>
          </p:nvSpPr>
          <p:spPr>
            <a:xfrm rot="5400000">
              <a:off x="316365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1" name="Oval 190"/>
            <p:cNvSpPr/>
            <p:nvPr/>
          </p:nvSpPr>
          <p:spPr>
            <a:xfrm rot="5400000">
              <a:off x="316365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2" name="Oval 191"/>
            <p:cNvSpPr/>
            <p:nvPr/>
          </p:nvSpPr>
          <p:spPr>
            <a:xfrm rot="5400000">
              <a:off x="346092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3" name="Oval 192"/>
            <p:cNvSpPr/>
            <p:nvPr/>
          </p:nvSpPr>
          <p:spPr>
            <a:xfrm rot="5400000">
              <a:off x="374899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4" name="Oval 193"/>
            <p:cNvSpPr/>
            <p:nvPr/>
          </p:nvSpPr>
          <p:spPr>
            <a:xfrm rot="5400000">
              <a:off x="374899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5" name="Oval 194"/>
            <p:cNvSpPr/>
            <p:nvPr/>
          </p:nvSpPr>
          <p:spPr>
            <a:xfrm rot="5400000">
              <a:off x="4048119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6" name="Oval 195"/>
            <p:cNvSpPr/>
            <p:nvPr/>
          </p:nvSpPr>
          <p:spPr>
            <a:xfrm rot="5400000">
              <a:off x="4048119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7" name="Oval 196"/>
            <p:cNvSpPr/>
            <p:nvPr/>
          </p:nvSpPr>
          <p:spPr>
            <a:xfrm rot="5400000">
              <a:off x="4346564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8" name="Oval 197"/>
            <p:cNvSpPr/>
            <p:nvPr/>
          </p:nvSpPr>
          <p:spPr>
            <a:xfrm rot="5400000">
              <a:off x="4346564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9" name="Oval 198"/>
            <p:cNvSpPr/>
            <p:nvPr/>
          </p:nvSpPr>
          <p:spPr>
            <a:xfrm rot="5400000">
              <a:off x="464100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0" name="Oval 199"/>
            <p:cNvSpPr/>
            <p:nvPr/>
          </p:nvSpPr>
          <p:spPr>
            <a:xfrm rot="5400000">
              <a:off x="4944825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1" name="Oval 200"/>
            <p:cNvSpPr/>
            <p:nvPr/>
          </p:nvSpPr>
          <p:spPr>
            <a:xfrm rot="5400000">
              <a:off x="494482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2" name="Oval 201"/>
            <p:cNvSpPr/>
            <p:nvPr/>
          </p:nvSpPr>
          <p:spPr>
            <a:xfrm rot="5400000">
              <a:off x="5242096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3" name="Oval 202"/>
            <p:cNvSpPr/>
            <p:nvPr/>
          </p:nvSpPr>
          <p:spPr>
            <a:xfrm rot="5400000">
              <a:off x="5535386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4" name="Oval 203"/>
            <p:cNvSpPr/>
            <p:nvPr/>
          </p:nvSpPr>
          <p:spPr>
            <a:xfrm rot="5400000">
              <a:off x="5535386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5" name="Oval 204"/>
            <p:cNvSpPr/>
            <p:nvPr/>
          </p:nvSpPr>
          <p:spPr>
            <a:xfrm rot="5400000">
              <a:off x="583701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6" name="Oval 205"/>
            <p:cNvSpPr/>
            <p:nvPr/>
          </p:nvSpPr>
          <p:spPr>
            <a:xfrm rot="5400000">
              <a:off x="5837011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7" name="Oval 206"/>
            <p:cNvSpPr/>
            <p:nvPr/>
          </p:nvSpPr>
          <p:spPr>
            <a:xfrm rot="5400000">
              <a:off x="613165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8" name="Oval 207"/>
            <p:cNvSpPr/>
            <p:nvPr/>
          </p:nvSpPr>
          <p:spPr>
            <a:xfrm rot="5400000">
              <a:off x="6131651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9" name="Oval 208"/>
            <p:cNvSpPr/>
            <p:nvPr/>
          </p:nvSpPr>
          <p:spPr>
            <a:xfrm rot="5400000">
              <a:off x="6428922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0" name="Oval 209"/>
            <p:cNvSpPr/>
            <p:nvPr/>
          </p:nvSpPr>
          <p:spPr>
            <a:xfrm rot="5400000">
              <a:off x="672397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1" name="Oval 210"/>
            <p:cNvSpPr/>
            <p:nvPr/>
          </p:nvSpPr>
          <p:spPr>
            <a:xfrm rot="5400000">
              <a:off x="672397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2" name="Oval 211"/>
            <p:cNvSpPr/>
            <p:nvPr/>
          </p:nvSpPr>
          <p:spPr>
            <a:xfrm rot="5400000">
              <a:off x="702242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3" name="Oval 212"/>
            <p:cNvSpPr/>
            <p:nvPr/>
          </p:nvSpPr>
          <p:spPr>
            <a:xfrm rot="5400000">
              <a:off x="702242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4" name="Oval 213"/>
            <p:cNvSpPr/>
            <p:nvPr/>
          </p:nvSpPr>
          <p:spPr>
            <a:xfrm rot="5400000">
              <a:off x="732086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5" name="Oval 214"/>
            <p:cNvSpPr/>
            <p:nvPr/>
          </p:nvSpPr>
          <p:spPr>
            <a:xfrm rot="5400000">
              <a:off x="7619994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6" name="Oval 215"/>
            <p:cNvSpPr/>
            <p:nvPr/>
          </p:nvSpPr>
          <p:spPr>
            <a:xfrm rot="5400000">
              <a:off x="7619994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7" name="Oval 216"/>
            <p:cNvSpPr/>
            <p:nvPr/>
          </p:nvSpPr>
          <p:spPr>
            <a:xfrm rot="5400000">
              <a:off x="7918439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8" name="Oval 217"/>
            <p:cNvSpPr/>
            <p:nvPr/>
          </p:nvSpPr>
          <p:spPr>
            <a:xfrm rot="5400000">
              <a:off x="7918439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9" name="Oval 218"/>
            <p:cNvSpPr/>
            <p:nvPr/>
          </p:nvSpPr>
          <p:spPr>
            <a:xfrm rot="5400000">
              <a:off x="821288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0" name="Oval 219"/>
            <p:cNvSpPr/>
            <p:nvPr/>
          </p:nvSpPr>
          <p:spPr>
            <a:xfrm rot="5400000">
              <a:off x="821288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1" name="Oval 220"/>
            <p:cNvSpPr/>
            <p:nvPr/>
          </p:nvSpPr>
          <p:spPr>
            <a:xfrm rot="5400000">
              <a:off x="851670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2" name="Oval 221"/>
            <p:cNvSpPr/>
            <p:nvPr/>
          </p:nvSpPr>
          <p:spPr>
            <a:xfrm rot="5400000">
              <a:off x="851670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3" name="Oval 222"/>
            <p:cNvSpPr/>
            <p:nvPr/>
          </p:nvSpPr>
          <p:spPr>
            <a:xfrm rot="5400000">
              <a:off x="881397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4" name="Oval 223"/>
            <p:cNvSpPr/>
            <p:nvPr/>
          </p:nvSpPr>
          <p:spPr>
            <a:xfrm rot="5400000">
              <a:off x="910204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5" name="Oval 224"/>
            <p:cNvSpPr/>
            <p:nvPr/>
          </p:nvSpPr>
          <p:spPr>
            <a:xfrm rot="5400000">
              <a:off x="910204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6" name="Oval 225"/>
            <p:cNvSpPr/>
            <p:nvPr/>
          </p:nvSpPr>
          <p:spPr>
            <a:xfrm rot="5400000">
              <a:off x="9401169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7" name="Oval 226"/>
            <p:cNvSpPr/>
            <p:nvPr/>
          </p:nvSpPr>
          <p:spPr>
            <a:xfrm rot="5400000">
              <a:off x="9401169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8" name="Oval 227"/>
            <p:cNvSpPr/>
            <p:nvPr/>
          </p:nvSpPr>
          <p:spPr>
            <a:xfrm rot="5400000">
              <a:off x="9699614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9" name="Oval 228"/>
            <p:cNvSpPr/>
            <p:nvPr/>
          </p:nvSpPr>
          <p:spPr>
            <a:xfrm rot="5400000">
              <a:off x="9699614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0" name="Oval 229"/>
            <p:cNvSpPr/>
            <p:nvPr/>
          </p:nvSpPr>
          <p:spPr>
            <a:xfrm rot="5400000">
              <a:off x="999405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1" name="Oval 230"/>
            <p:cNvSpPr/>
            <p:nvPr/>
          </p:nvSpPr>
          <p:spPr>
            <a:xfrm rot="5400000">
              <a:off x="10297875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2" name="Oval 231"/>
            <p:cNvSpPr/>
            <p:nvPr/>
          </p:nvSpPr>
          <p:spPr>
            <a:xfrm rot="5400000">
              <a:off x="1029787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3" name="Oval 232"/>
            <p:cNvSpPr/>
            <p:nvPr/>
          </p:nvSpPr>
          <p:spPr>
            <a:xfrm rot="5400000">
              <a:off x="10595146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4" name="Oval 233"/>
            <p:cNvSpPr/>
            <p:nvPr/>
          </p:nvSpPr>
          <p:spPr>
            <a:xfrm rot="5400000">
              <a:off x="10888318" y="877026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5" name="Oval 234"/>
            <p:cNvSpPr/>
            <p:nvPr/>
          </p:nvSpPr>
          <p:spPr>
            <a:xfrm rot="5400000">
              <a:off x="10888318" y="9067920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6" name="Oval 235"/>
            <p:cNvSpPr/>
            <p:nvPr/>
          </p:nvSpPr>
          <p:spPr>
            <a:xfrm rot="5400000">
              <a:off x="11189943" y="877026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8" name="Oval 237"/>
            <p:cNvSpPr/>
            <p:nvPr/>
          </p:nvSpPr>
          <p:spPr>
            <a:xfrm rot="5400000">
              <a:off x="11484583" y="787729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9" name="Oval 238"/>
            <p:cNvSpPr/>
            <p:nvPr userDrawn="1"/>
          </p:nvSpPr>
          <p:spPr>
            <a:xfrm rot="5400000">
              <a:off x="11484583" y="817495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0" name="Oval 239"/>
            <p:cNvSpPr/>
            <p:nvPr/>
          </p:nvSpPr>
          <p:spPr>
            <a:xfrm rot="5400000">
              <a:off x="11484583" y="877026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1" name="Oval 240"/>
            <p:cNvSpPr/>
            <p:nvPr/>
          </p:nvSpPr>
          <p:spPr>
            <a:xfrm rot="5400000">
              <a:off x="11781854" y="817495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-107142" y="404664"/>
            <a:ext cx="11837468" cy="5389934"/>
            <a:chOff x="-107142" y="696182"/>
            <a:chExt cx="11837468" cy="5161712"/>
          </a:xfrm>
        </p:grpSpPr>
        <p:grpSp>
          <p:nvGrpSpPr>
            <p:cNvPr id="9" name="Group 8"/>
            <p:cNvGrpSpPr/>
            <p:nvPr/>
          </p:nvGrpSpPr>
          <p:grpSpPr>
            <a:xfrm>
              <a:off x="37410" y="4179566"/>
              <a:ext cx="1781032" cy="694282"/>
              <a:chOff x="-39951" y="6121872"/>
              <a:chExt cx="1781032" cy="694282"/>
            </a:xfrm>
          </p:grpSpPr>
          <p:sp>
            <p:nvSpPr>
              <p:cNvPr id="171" name="Content Placeholder 2"/>
              <p:cNvSpPr txBox="1">
                <a:spLocks/>
              </p:cNvSpPr>
              <p:nvPr/>
            </p:nvSpPr>
            <p:spPr>
              <a:xfrm>
                <a:off x="-39951" y="6121872"/>
                <a:ext cx="1616173" cy="694282"/>
              </a:xfrm>
              <a:prstGeom prst="rect">
                <a:avLst/>
              </a:prstGeom>
            </p:spPr>
            <p:txBody>
              <a:bodyPr/>
              <a:lstStyle>
                <a:lvl1pPr marL="309563" indent="-309563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rgbClr val="007DC3"/>
                  </a:buClr>
                  <a:buSzPct val="100000"/>
                  <a:buFont typeface="Wingdings" pitchFamily="2" charset="2"/>
                  <a:buChar char="l"/>
                  <a:defRPr sz="2200">
                    <a:solidFill>
                      <a:schemeClr val="tx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1pPr>
                <a:lvl2pPr marL="666750" indent="-2444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rgbClr val="11AAFF"/>
                  </a:buClr>
                  <a:buSzPct val="100000"/>
                  <a:buFont typeface="Wingdings" pitchFamily="2" charset="2"/>
                  <a:buChar char="l"/>
                  <a:defRPr sz="2000">
                    <a:solidFill>
                      <a:schemeClr val="tx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2pPr>
                <a:lvl3pPr marL="1028700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rgbClr val="8FD7FF"/>
                  </a:buClr>
                  <a:buSzPct val="100000"/>
                  <a:buFont typeface="Wingdings" pitchFamily="2" charset="2"/>
                  <a:buChar char="l"/>
                  <a:defRPr>
                    <a:solidFill>
                      <a:schemeClr val="tx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3pPr>
                <a:lvl4pPr marL="1439863" indent="-204788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4pPr>
                <a:lvl5pPr marL="18526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5pPr>
                <a:lvl6pPr marL="23098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6pPr>
                <a:lvl7pPr marL="27670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7pPr>
                <a:lvl8pPr marL="32242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8pPr>
                <a:lvl9pPr marL="36814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9pPr>
              </a:lstStyle>
              <a:p>
                <a:pPr marL="0" marR="0" lvl="0" indent="0" algn="ctr" defTabSz="685800" rtl="0" eaLnBrk="1" fontAlgn="base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3E8FCD"/>
                  </a:buClr>
                  <a:buSzPct val="100000"/>
                  <a:buFont typeface="Wingdings" pitchFamily="2" charset="2"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 w="3175"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 panose="02040502050405020303" pitchFamily="18" charset="0"/>
                  </a:rPr>
                  <a:t>Natural Uranium</a:t>
                </a:r>
                <a:endParaRPr kumimoji="0" lang="nl-BE" sz="1600" b="1" i="0" u="none" strike="noStrike" kern="0" cap="none" spc="0" normalizeH="0" baseline="0" noProof="0" dirty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</a:endParaRPr>
              </a:p>
            </p:txBody>
          </p:sp>
          <p:sp>
            <p:nvSpPr>
              <p:cNvPr id="172" name="Rectangle 171"/>
              <p:cNvSpPr/>
              <p:nvPr/>
            </p:nvSpPr>
            <p:spPr>
              <a:xfrm>
                <a:off x="1455425" y="6289326"/>
                <a:ext cx="285656" cy="32421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10728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 w="3175"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 panose="02040502050405020303" pitchFamily="18" charset="0"/>
                  </a:rPr>
                  <a:t>1</a:t>
                </a:r>
                <a:endParaRPr kumimoji="0" lang="en-US" sz="1600" b="1" i="0" u="none" strike="noStrike" kern="1200" cap="none" spc="0" normalizeH="0" baseline="0" noProof="0" dirty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</a:endParaRPr>
              </a:p>
            </p:txBody>
          </p:sp>
        </p:grpSp>
        <p:grpSp>
          <p:nvGrpSpPr>
            <p:cNvPr id="10" name="Group 9"/>
            <p:cNvGrpSpPr/>
            <p:nvPr/>
          </p:nvGrpSpPr>
          <p:grpSpPr>
            <a:xfrm>
              <a:off x="-107142" y="1330365"/>
              <a:ext cx="2000352" cy="763061"/>
              <a:chOff x="-107142" y="1327423"/>
              <a:chExt cx="2000352" cy="694282"/>
            </a:xfrm>
          </p:grpSpPr>
          <p:sp>
            <p:nvSpPr>
              <p:cNvPr id="169" name="Content Placeholder 2"/>
              <p:cNvSpPr txBox="1">
                <a:spLocks/>
              </p:cNvSpPr>
              <p:nvPr/>
            </p:nvSpPr>
            <p:spPr>
              <a:xfrm>
                <a:off x="-107142" y="1327423"/>
                <a:ext cx="1616174" cy="694282"/>
              </a:xfrm>
              <a:prstGeom prst="rect">
                <a:avLst/>
              </a:prstGeom>
              <a:noFill/>
            </p:spPr>
            <p:txBody>
              <a:bodyPr/>
              <a:lstStyle>
                <a:lvl1pPr marL="309563" indent="-309563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rgbClr val="007DC3"/>
                  </a:buClr>
                  <a:buSzPct val="100000"/>
                  <a:buFont typeface="Wingdings" pitchFamily="2" charset="2"/>
                  <a:buChar char="l"/>
                  <a:defRPr sz="2200">
                    <a:solidFill>
                      <a:schemeClr val="tx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1pPr>
                <a:lvl2pPr marL="666750" indent="-2444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rgbClr val="11AAFF"/>
                  </a:buClr>
                  <a:buSzPct val="100000"/>
                  <a:buFont typeface="Wingdings" pitchFamily="2" charset="2"/>
                  <a:buChar char="l"/>
                  <a:defRPr sz="2000">
                    <a:solidFill>
                      <a:schemeClr val="tx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2pPr>
                <a:lvl3pPr marL="1028700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rgbClr val="8FD7FF"/>
                  </a:buClr>
                  <a:buSzPct val="100000"/>
                  <a:buFont typeface="Wingdings" pitchFamily="2" charset="2"/>
                  <a:buChar char="l"/>
                  <a:defRPr>
                    <a:solidFill>
                      <a:schemeClr val="tx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3pPr>
                <a:lvl4pPr marL="1439863" indent="-204788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4pPr>
                <a:lvl5pPr marL="18526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5pPr>
                <a:lvl6pPr marL="23098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6pPr>
                <a:lvl7pPr marL="27670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7pPr>
                <a:lvl8pPr marL="32242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8pPr>
                <a:lvl9pPr marL="36814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 w="3175"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 panose="02040502050405020303" pitchFamily="18" charset="0"/>
                  </a:rPr>
                  <a:t>Spent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 w="3175"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 panose="02040502050405020303" pitchFamily="18" charset="0"/>
                  </a:rPr>
                  <a:t>Nuclear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 w="3175"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 panose="02040502050405020303" pitchFamily="18" charset="0"/>
                  </a:rPr>
                  <a:t>Fuel</a:t>
                </a:r>
              </a:p>
            </p:txBody>
          </p:sp>
          <p:sp>
            <p:nvSpPr>
              <p:cNvPr id="170" name="Rectangle 169"/>
              <p:cNvSpPr/>
              <p:nvPr/>
            </p:nvSpPr>
            <p:spPr>
              <a:xfrm>
                <a:off x="1174744" y="1605096"/>
                <a:ext cx="718466" cy="29499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10728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 w="3175"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 panose="02040502050405020303" pitchFamily="18" charset="0"/>
                  </a:rPr>
                  <a:t>1000</a:t>
                </a:r>
              </a:p>
            </p:txBody>
          </p:sp>
        </p:grpSp>
        <p:grpSp>
          <p:nvGrpSpPr>
            <p:cNvPr id="11" name="Group 10"/>
            <p:cNvGrpSpPr/>
            <p:nvPr/>
          </p:nvGrpSpPr>
          <p:grpSpPr>
            <a:xfrm>
              <a:off x="1377978" y="696182"/>
              <a:ext cx="10352348" cy="5161712"/>
              <a:chOff x="1377978" y="696182"/>
              <a:chExt cx="10352348" cy="5161712"/>
            </a:xfrm>
          </p:grpSpPr>
          <p:cxnSp>
            <p:nvCxnSpPr>
              <p:cNvPr id="12" name="Straight Connector 11"/>
              <p:cNvCxnSpPr/>
              <p:nvPr/>
            </p:nvCxnSpPr>
            <p:spPr bwMode="auto">
              <a:xfrm>
                <a:off x="1881645" y="4529663"/>
                <a:ext cx="7851228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3" name="Freeform 12"/>
              <p:cNvSpPr/>
              <p:nvPr/>
            </p:nvSpPr>
            <p:spPr bwMode="auto">
              <a:xfrm>
                <a:off x="1881663" y="2571057"/>
                <a:ext cx="2053679" cy="2914287"/>
              </a:xfrm>
              <a:custGeom>
                <a:avLst/>
                <a:gdLst>
                  <a:gd name="connsiteX0" fmla="*/ 0 w 2847975"/>
                  <a:gd name="connsiteY0" fmla="*/ 0 h 2781300"/>
                  <a:gd name="connsiteX1" fmla="*/ 419100 w 2847975"/>
                  <a:gd name="connsiteY1" fmla="*/ 9525 h 2781300"/>
                  <a:gd name="connsiteX2" fmla="*/ 561975 w 2847975"/>
                  <a:gd name="connsiteY2" fmla="*/ 28575 h 2781300"/>
                  <a:gd name="connsiteX3" fmla="*/ 590550 w 2847975"/>
                  <a:gd name="connsiteY3" fmla="*/ 38100 h 2781300"/>
                  <a:gd name="connsiteX4" fmla="*/ 619125 w 2847975"/>
                  <a:gd name="connsiteY4" fmla="*/ 57150 h 2781300"/>
                  <a:gd name="connsiteX5" fmla="*/ 657225 w 2847975"/>
                  <a:gd name="connsiteY5" fmla="*/ 114300 h 2781300"/>
                  <a:gd name="connsiteX6" fmla="*/ 676275 w 2847975"/>
                  <a:gd name="connsiteY6" fmla="*/ 152400 h 2781300"/>
                  <a:gd name="connsiteX7" fmla="*/ 704850 w 2847975"/>
                  <a:gd name="connsiteY7" fmla="*/ 171450 h 2781300"/>
                  <a:gd name="connsiteX8" fmla="*/ 733425 w 2847975"/>
                  <a:gd name="connsiteY8" fmla="*/ 209550 h 2781300"/>
                  <a:gd name="connsiteX9" fmla="*/ 771525 w 2847975"/>
                  <a:gd name="connsiteY9" fmla="*/ 228600 h 2781300"/>
                  <a:gd name="connsiteX10" fmla="*/ 809625 w 2847975"/>
                  <a:gd name="connsiteY10" fmla="*/ 257175 h 2781300"/>
                  <a:gd name="connsiteX11" fmla="*/ 866775 w 2847975"/>
                  <a:gd name="connsiteY11" fmla="*/ 295275 h 2781300"/>
                  <a:gd name="connsiteX12" fmla="*/ 895350 w 2847975"/>
                  <a:gd name="connsiteY12" fmla="*/ 314325 h 2781300"/>
                  <a:gd name="connsiteX13" fmla="*/ 923925 w 2847975"/>
                  <a:gd name="connsiteY13" fmla="*/ 323850 h 2781300"/>
                  <a:gd name="connsiteX14" fmla="*/ 971550 w 2847975"/>
                  <a:gd name="connsiteY14" fmla="*/ 342900 h 2781300"/>
                  <a:gd name="connsiteX15" fmla="*/ 1038225 w 2847975"/>
                  <a:gd name="connsiteY15" fmla="*/ 361950 h 2781300"/>
                  <a:gd name="connsiteX16" fmla="*/ 1085850 w 2847975"/>
                  <a:gd name="connsiteY16" fmla="*/ 390525 h 2781300"/>
                  <a:gd name="connsiteX17" fmla="*/ 1123950 w 2847975"/>
                  <a:gd name="connsiteY17" fmla="*/ 409575 h 2781300"/>
                  <a:gd name="connsiteX18" fmla="*/ 1181100 w 2847975"/>
                  <a:gd name="connsiteY18" fmla="*/ 447675 h 2781300"/>
                  <a:gd name="connsiteX19" fmla="*/ 1209675 w 2847975"/>
                  <a:gd name="connsiteY19" fmla="*/ 476250 h 2781300"/>
                  <a:gd name="connsiteX20" fmla="*/ 1314450 w 2847975"/>
                  <a:gd name="connsiteY20" fmla="*/ 542925 h 2781300"/>
                  <a:gd name="connsiteX21" fmla="*/ 1352550 w 2847975"/>
                  <a:gd name="connsiteY21" fmla="*/ 561975 h 2781300"/>
                  <a:gd name="connsiteX22" fmla="*/ 1381125 w 2847975"/>
                  <a:gd name="connsiteY22" fmla="*/ 590550 h 2781300"/>
                  <a:gd name="connsiteX23" fmla="*/ 1457325 w 2847975"/>
                  <a:gd name="connsiteY23" fmla="*/ 647700 h 2781300"/>
                  <a:gd name="connsiteX24" fmla="*/ 1495425 w 2847975"/>
                  <a:gd name="connsiteY24" fmla="*/ 685800 h 2781300"/>
                  <a:gd name="connsiteX25" fmla="*/ 1562100 w 2847975"/>
                  <a:gd name="connsiteY25" fmla="*/ 723900 h 2781300"/>
                  <a:gd name="connsiteX26" fmla="*/ 1600200 w 2847975"/>
                  <a:gd name="connsiteY26" fmla="*/ 771525 h 2781300"/>
                  <a:gd name="connsiteX27" fmla="*/ 1638300 w 2847975"/>
                  <a:gd name="connsiteY27" fmla="*/ 847725 h 2781300"/>
                  <a:gd name="connsiteX28" fmla="*/ 1695450 w 2847975"/>
                  <a:gd name="connsiteY28" fmla="*/ 914400 h 2781300"/>
                  <a:gd name="connsiteX29" fmla="*/ 1724025 w 2847975"/>
                  <a:gd name="connsiteY29" fmla="*/ 971550 h 2781300"/>
                  <a:gd name="connsiteX30" fmla="*/ 1733550 w 2847975"/>
                  <a:gd name="connsiteY30" fmla="*/ 1000125 h 2781300"/>
                  <a:gd name="connsiteX31" fmla="*/ 1752600 w 2847975"/>
                  <a:gd name="connsiteY31" fmla="*/ 1028700 h 2781300"/>
                  <a:gd name="connsiteX32" fmla="*/ 1762125 w 2847975"/>
                  <a:gd name="connsiteY32" fmla="*/ 1057275 h 2781300"/>
                  <a:gd name="connsiteX33" fmla="*/ 1800225 w 2847975"/>
                  <a:gd name="connsiteY33" fmla="*/ 1114425 h 2781300"/>
                  <a:gd name="connsiteX34" fmla="*/ 1819275 w 2847975"/>
                  <a:gd name="connsiteY34" fmla="*/ 1143000 h 2781300"/>
                  <a:gd name="connsiteX35" fmla="*/ 1838325 w 2847975"/>
                  <a:gd name="connsiteY35" fmla="*/ 1171575 h 2781300"/>
                  <a:gd name="connsiteX36" fmla="*/ 1847850 w 2847975"/>
                  <a:gd name="connsiteY36" fmla="*/ 1200150 h 2781300"/>
                  <a:gd name="connsiteX37" fmla="*/ 1876425 w 2847975"/>
                  <a:gd name="connsiteY37" fmla="*/ 1219200 h 2781300"/>
                  <a:gd name="connsiteX38" fmla="*/ 1933575 w 2847975"/>
                  <a:gd name="connsiteY38" fmla="*/ 1295400 h 2781300"/>
                  <a:gd name="connsiteX39" fmla="*/ 1971675 w 2847975"/>
                  <a:gd name="connsiteY39" fmla="*/ 1333500 h 2781300"/>
                  <a:gd name="connsiteX40" fmla="*/ 2009775 w 2847975"/>
                  <a:gd name="connsiteY40" fmla="*/ 1390650 h 2781300"/>
                  <a:gd name="connsiteX41" fmla="*/ 2019300 w 2847975"/>
                  <a:gd name="connsiteY41" fmla="*/ 1419225 h 2781300"/>
                  <a:gd name="connsiteX42" fmla="*/ 2047875 w 2847975"/>
                  <a:gd name="connsiteY42" fmla="*/ 1438275 h 2781300"/>
                  <a:gd name="connsiteX43" fmla="*/ 2085975 w 2847975"/>
                  <a:gd name="connsiteY43" fmla="*/ 1495425 h 2781300"/>
                  <a:gd name="connsiteX44" fmla="*/ 2105025 w 2847975"/>
                  <a:gd name="connsiteY44" fmla="*/ 1524000 h 2781300"/>
                  <a:gd name="connsiteX45" fmla="*/ 2114550 w 2847975"/>
                  <a:gd name="connsiteY45" fmla="*/ 1552575 h 2781300"/>
                  <a:gd name="connsiteX46" fmla="*/ 2152650 w 2847975"/>
                  <a:gd name="connsiteY46" fmla="*/ 1590675 h 2781300"/>
                  <a:gd name="connsiteX47" fmla="*/ 2171700 w 2847975"/>
                  <a:gd name="connsiteY47" fmla="*/ 1638300 h 2781300"/>
                  <a:gd name="connsiteX48" fmla="*/ 2190750 w 2847975"/>
                  <a:gd name="connsiteY48" fmla="*/ 1733550 h 2781300"/>
                  <a:gd name="connsiteX49" fmla="*/ 2219325 w 2847975"/>
                  <a:gd name="connsiteY49" fmla="*/ 1800225 h 2781300"/>
                  <a:gd name="connsiteX50" fmla="*/ 2238375 w 2847975"/>
                  <a:gd name="connsiteY50" fmla="*/ 1885950 h 2781300"/>
                  <a:gd name="connsiteX51" fmla="*/ 2247900 w 2847975"/>
                  <a:gd name="connsiteY51" fmla="*/ 1981200 h 2781300"/>
                  <a:gd name="connsiteX52" fmla="*/ 2266950 w 2847975"/>
                  <a:gd name="connsiteY52" fmla="*/ 2066925 h 2781300"/>
                  <a:gd name="connsiteX53" fmla="*/ 2286000 w 2847975"/>
                  <a:gd name="connsiteY53" fmla="*/ 2114550 h 2781300"/>
                  <a:gd name="connsiteX54" fmla="*/ 2305050 w 2847975"/>
                  <a:gd name="connsiteY54" fmla="*/ 2257425 h 2781300"/>
                  <a:gd name="connsiteX55" fmla="*/ 2324100 w 2847975"/>
                  <a:gd name="connsiteY55" fmla="*/ 2286000 h 2781300"/>
                  <a:gd name="connsiteX56" fmla="*/ 2333625 w 2847975"/>
                  <a:gd name="connsiteY56" fmla="*/ 2314575 h 2781300"/>
                  <a:gd name="connsiteX57" fmla="*/ 2381250 w 2847975"/>
                  <a:gd name="connsiteY57" fmla="*/ 2381250 h 2781300"/>
                  <a:gd name="connsiteX58" fmla="*/ 2409825 w 2847975"/>
                  <a:gd name="connsiteY58" fmla="*/ 2390775 h 2781300"/>
                  <a:gd name="connsiteX59" fmla="*/ 2457450 w 2847975"/>
                  <a:gd name="connsiteY59" fmla="*/ 2409825 h 2781300"/>
                  <a:gd name="connsiteX60" fmla="*/ 2533650 w 2847975"/>
                  <a:gd name="connsiteY60" fmla="*/ 2466975 h 2781300"/>
                  <a:gd name="connsiteX61" fmla="*/ 2609850 w 2847975"/>
                  <a:gd name="connsiteY61" fmla="*/ 2505075 h 2781300"/>
                  <a:gd name="connsiteX62" fmla="*/ 2638425 w 2847975"/>
                  <a:gd name="connsiteY62" fmla="*/ 2524125 h 2781300"/>
                  <a:gd name="connsiteX63" fmla="*/ 2676525 w 2847975"/>
                  <a:gd name="connsiteY63" fmla="*/ 2552700 h 2781300"/>
                  <a:gd name="connsiteX64" fmla="*/ 2714625 w 2847975"/>
                  <a:gd name="connsiteY64" fmla="*/ 2571750 h 2781300"/>
                  <a:gd name="connsiteX65" fmla="*/ 2762250 w 2847975"/>
                  <a:gd name="connsiteY65" fmla="*/ 2638425 h 2781300"/>
                  <a:gd name="connsiteX66" fmla="*/ 2800350 w 2847975"/>
                  <a:gd name="connsiteY66" fmla="*/ 2695575 h 2781300"/>
                  <a:gd name="connsiteX67" fmla="*/ 2819400 w 2847975"/>
                  <a:gd name="connsiteY67" fmla="*/ 2724150 h 2781300"/>
                  <a:gd name="connsiteX68" fmla="*/ 2838450 w 2847975"/>
                  <a:gd name="connsiteY68" fmla="*/ 2752725 h 2781300"/>
                  <a:gd name="connsiteX69" fmla="*/ 2847975 w 2847975"/>
                  <a:gd name="connsiteY69" fmla="*/ 2781300 h 2781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2847975" h="2781300">
                    <a:moveTo>
                      <a:pt x="0" y="0"/>
                    </a:moveTo>
                    <a:lnTo>
                      <a:pt x="419100" y="9525"/>
                    </a:lnTo>
                    <a:cubicBezTo>
                      <a:pt x="483468" y="11866"/>
                      <a:pt x="509803" y="13669"/>
                      <a:pt x="561975" y="28575"/>
                    </a:cubicBezTo>
                    <a:cubicBezTo>
                      <a:pt x="571629" y="31333"/>
                      <a:pt x="581570" y="33610"/>
                      <a:pt x="590550" y="38100"/>
                    </a:cubicBezTo>
                    <a:cubicBezTo>
                      <a:pt x="600789" y="43220"/>
                      <a:pt x="609600" y="50800"/>
                      <a:pt x="619125" y="57150"/>
                    </a:cubicBezTo>
                    <a:cubicBezTo>
                      <a:pt x="631825" y="76200"/>
                      <a:pt x="646986" y="93822"/>
                      <a:pt x="657225" y="114300"/>
                    </a:cubicBezTo>
                    <a:cubicBezTo>
                      <a:pt x="663575" y="127000"/>
                      <a:pt x="667185" y="141492"/>
                      <a:pt x="676275" y="152400"/>
                    </a:cubicBezTo>
                    <a:cubicBezTo>
                      <a:pt x="683604" y="161194"/>
                      <a:pt x="696755" y="163355"/>
                      <a:pt x="704850" y="171450"/>
                    </a:cubicBezTo>
                    <a:cubicBezTo>
                      <a:pt x="716075" y="182675"/>
                      <a:pt x="721372" y="199219"/>
                      <a:pt x="733425" y="209550"/>
                    </a:cubicBezTo>
                    <a:cubicBezTo>
                      <a:pt x="744206" y="218791"/>
                      <a:pt x="759484" y="221075"/>
                      <a:pt x="771525" y="228600"/>
                    </a:cubicBezTo>
                    <a:cubicBezTo>
                      <a:pt x="784987" y="237014"/>
                      <a:pt x="796620" y="248071"/>
                      <a:pt x="809625" y="257175"/>
                    </a:cubicBezTo>
                    <a:cubicBezTo>
                      <a:pt x="828382" y="270305"/>
                      <a:pt x="847725" y="282575"/>
                      <a:pt x="866775" y="295275"/>
                    </a:cubicBezTo>
                    <a:cubicBezTo>
                      <a:pt x="876300" y="301625"/>
                      <a:pt x="884490" y="310705"/>
                      <a:pt x="895350" y="314325"/>
                    </a:cubicBezTo>
                    <a:cubicBezTo>
                      <a:pt x="904875" y="317500"/>
                      <a:pt x="914524" y="320325"/>
                      <a:pt x="923925" y="323850"/>
                    </a:cubicBezTo>
                    <a:cubicBezTo>
                      <a:pt x="939934" y="329853"/>
                      <a:pt x="955330" y="337493"/>
                      <a:pt x="971550" y="342900"/>
                    </a:cubicBezTo>
                    <a:cubicBezTo>
                      <a:pt x="989861" y="349004"/>
                      <a:pt x="1019879" y="352777"/>
                      <a:pt x="1038225" y="361950"/>
                    </a:cubicBezTo>
                    <a:cubicBezTo>
                      <a:pt x="1054784" y="370229"/>
                      <a:pt x="1069666" y="381534"/>
                      <a:pt x="1085850" y="390525"/>
                    </a:cubicBezTo>
                    <a:cubicBezTo>
                      <a:pt x="1098262" y="397421"/>
                      <a:pt x="1111774" y="402270"/>
                      <a:pt x="1123950" y="409575"/>
                    </a:cubicBezTo>
                    <a:cubicBezTo>
                      <a:pt x="1143583" y="421355"/>
                      <a:pt x="1164911" y="431486"/>
                      <a:pt x="1181100" y="447675"/>
                    </a:cubicBezTo>
                    <a:cubicBezTo>
                      <a:pt x="1190625" y="457200"/>
                      <a:pt x="1198714" y="468420"/>
                      <a:pt x="1209675" y="476250"/>
                    </a:cubicBezTo>
                    <a:cubicBezTo>
                      <a:pt x="1243361" y="500311"/>
                      <a:pt x="1277423" y="524412"/>
                      <a:pt x="1314450" y="542925"/>
                    </a:cubicBezTo>
                    <a:cubicBezTo>
                      <a:pt x="1327150" y="549275"/>
                      <a:pt x="1340996" y="553722"/>
                      <a:pt x="1352550" y="561975"/>
                    </a:cubicBezTo>
                    <a:cubicBezTo>
                      <a:pt x="1363511" y="569805"/>
                      <a:pt x="1370699" y="582020"/>
                      <a:pt x="1381125" y="590550"/>
                    </a:cubicBezTo>
                    <a:cubicBezTo>
                      <a:pt x="1405698" y="610655"/>
                      <a:pt x="1434874" y="625249"/>
                      <a:pt x="1457325" y="647700"/>
                    </a:cubicBezTo>
                    <a:cubicBezTo>
                      <a:pt x="1470025" y="660400"/>
                      <a:pt x="1481788" y="674111"/>
                      <a:pt x="1495425" y="685800"/>
                    </a:cubicBezTo>
                    <a:cubicBezTo>
                      <a:pt x="1514273" y="701956"/>
                      <a:pt x="1540479" y="713090"/>
                      <a:pt x="1562100" y="723900"/>
                    </a:cubicBezTo>
                    <a:cubicBezTo>
                      <a:pt x="1590949" y="810446"/>
                      <a:pt x="1545366" y="693191"/>
                      <a:pt x="1600200" y="771525"/>
                    </a:cubicBezTo>
                    <a:cubicBezTo>
                      <a:pt x="1616485" y="794790"/>
                      <a:pt x="1618220" y="827645"/>
                      <a:pt x="1638300" y="847725"/>
                    </a:cubicBezTo>
                    <a:cubicBezTo>
                      <a:pt x="1678100" y="887525"/>
                      <a:pt x="1658793" y="865524"/>
                      <a:pt x="1695450" y="914400"/>
                    </a:cubicBezTo>
                    <a:cubicBezTo>
                      <a:pt x="1719391" y="986224"/>
                      <a:pt x="1687096" y="897692"/>
                      <a:pt x="1724025" y="971550"/>
                    </a:cubicBezTo>
                    <a:cubicBezTo>
                      <a:pt x="1728515" y="980530"/>
                      <a:pt x="1729060" y="991145"/>
                      <a:pt x="1733550" y="1000125"/>
                    </a:cubicBezTo>
                    <a:cubicBezTo>
                      <a:pt x="1738670" y="1010364"/>
                      <a:pt x="1747480" y="1018461"/>
                      <a:pt x="1752600" y="1028700"/>
                    </a:cubicBezTo>
                    <a:cubicBezTo>
                      <a:pt x="1757090" y="1037680"/>
                      <a:pt x="1757249" y="1048498"/>
                      <a:pt x="1762125" y="1057275"/>
                    </a:cubicBezTo>
                    <a:cubicBezTo>
                      <a:pt x="1773244" y="1077289"/>
                      <a:pt x="1787525" y="1095375"/>
                      <a:pt x="1800225" y="1114425"/>
                    </a:cubicBezTo>
                    <a:lnTo>
                      <a:pt x="1819275" y="1143000"/>
                    </a:lnTo>
                    <a:cubicBezTo>
                      <a:pt x="1825625" y="1152525"/>
                      <a:pt x="1834705" y="1160715"/>
                      <a:pt x="1838325" y="1171575"/>
                    </a:cubicBezTo>
                    <a:cubicBezTo>
                      <a:pt x="1841500" y="1181100"/>
                      <a:pt x="1841578" y="1192310"/>
                      <a:pt x="1847850" y="1200150"/>
                    </a:cubicBezTo>
                    <a:cubicBezTo>
                      <a:pt x="1855001" y="1209089"/>
                      <a:pt x="1868767" y="1210691"/>
                      <a:pt x="1876425" y="1219200"/>
                    </a:cubicBezTo>
                    <a:cubicBezTo>
                      <a:pt x="1897665" y="1242800"/>
                      <a:pt x="1911124" y="1272949"/>
                      <a:pt x="1933575" y="1295400"/>
                    </a:cubicBezTo>
                    <a:cubicBezTo>
                      <a:pt x="1946275" y="1308100"/>
                      <a:pt x="1960455" y="1319475"/>
                      <a:pt x="1971675" y="1333500"/>
                    </a:cubicBezTo>
                    <a:cubicBezTo>
                      <a:pt x="1985978" y="1351378"/>
                      <a:pt x="2002535" y="1368930"/>
                      <a:pt x="2009775" y="1390650"/>
                    </a:cubicBezTo>
                    <a:cubicBezTo>
                      <a:pt x="2012950" y="1400175"/>
                      <a:pt x="2013028" y="1411385"/>
                      <a:pt x="2019300" y="1419225"/>
                    </a:cubicBezTo>
                    <a:cubicBezTo>
                      <a:pt x="2026451" y="1428164"/>
                      <a:pt x="2038350" y="1431925"/>
                      <a:pt x="2047875" y="1438275"/>
                    </a:cubicBezTo>
                    <a:lnTo>
                      <a:pt x="2085975" y="1495425"/>
                    </a:lnTo>
                    <a:cubicBezTo>
                      <a:pt x="2092325" y="1504950"/>
                      <a:pt x="2101405" y="1513140"/>
                      <a:pt x="2105025" y="1524000"/>
                    </a:cubicBezTo>
                    <a:cubicBezTo>
                      <a:pt x="2108200" y="1533525"/>
                      <a:pt x="2108714" y="1544405"/>
                      <a:pt x="2114550" y="1552575"/>
                    </a:cubicBezTo>
                    <a:cubicBezTo>
                      <a:pt x="2124989" y="1567190"/>
                      <a:pt x="2139950" y="1577975"/>
                      <a:pt x="2152650" y="1590675"/>
                    </a:cubicBezTo>
                    <a:cubicBezTo>
                      <a:pt x="2159000" y="1606550"/>
                      <a:pt x="2167201" y="1621805"/>
                      <a:pt x="2171700" y="1638300"/>
                    </a:cubicBezTo>
                    <a:cubicBezTo>
                      <a:pt x="2182674" y="1678538"/>
                      <a:pt x="2177018" y="1696930"/>
                      <a:pt x="2190750" y="1733550"/>
                    </a:cubicBezTo>
                    <a:cubicBezTo>
                      <a:pt x="2221230" y="1814830"/>
                      <a:pt x="2200403" y="1733997"/>
                      <a:pt x="2219325" y="1800225"/>
                    </a:cubicBezTo>
                    <a:cubicBezTo>
                      <a:pt x="2224984" y="1820031"/>
                      <a:pt x="2235920" y="1867536"/>
                      <a:pt x="2238375" y="1885950"/>
                    </a:cubicBezTo>
                    <a:cubicBezTo>
                      <a:pt x="2242592" y="1917578"/>
                      <a:pt x="2243683" y="1949572"/>
                      <a:pt x="2247900" y="1981200"/>
                    </a:cubicBezTo>
                    <a:cubicBezTo>
                      <a:pt x="2249578" y="1993782"/>
                      <a:pt x="2261920" y="2051835"/>
                      <a:pt x="2266950" y="2066925"/>
                    </a:cubicBezTo>
                    <a:cubicBezTo>
                      <a:pt x="2272357" y="2083145"/>
                      <a:pt x="2281087" y="2098173"/>
                      <a:pt x="2286000" y="2114550"/>
                    </a:cubicBezTo>
                    <a:cubicBezTo>
                      <a:pt x="2307495" y="2186200"/>
                      <a:pt x="2282655" y="2160382"/>
                      <a:pt x="2305050" y="2257425"/>
                    </a:cubicBezTo>
                    <a:cubicBezTo>
                      <a:pt x="2307624" y="2268579"/>
                      <a:pt x="2318980" y="2275761"/>
                      <a:pt x="2324100" y="2286000"/>
                    </a:cubicBezTo>
                    <a:cubicBezTo>
                      <a:pt x="2328590" y="2294980"/>
                      <a:pt x="2329135" y="2305595"/>
                      <a:pt x="2333625" y="2314575"/>
                    </a:cubicBezTo>
                    <a:cubicBezTo>
                      <a:pt x="2338589" y="2324503"/>
                      <a:pt x="2377552" y="2378168"/>
                      <a:pt x="2381250" y="2381250"/>
                    </a:cubicBezTo>
                    <a:cubicBezTo>
                      <a:pt x="2388963" y="2387678"/>
                      <a:pt x="2400424" y="2387250"/>
                      <a:pt x="2409825" y="2390775"/>
                    </a:cubicBezTo>
                    <a:cubicBezTo>
                      <a:pt x="2425834" y="2396778"/>
                      <a:pt x="2442888" y="2400864"/>
                      <a:pt x="2457450" y="2409825"/>
                    </a:cubicBezTo>
                    <a:cubicBezTo>
                      <a:pt x="2484490" y="2426465"/>
                      <a:pt x="2505252" y="2452776"/>
                      <a:pt x="2533650" y="2466975"/>
                    </a:cubicBezTo>
                    <a:cubicBezTo>
                      <a:pt x="2559050" y="2479675"/>
                      <a:pt x="2586221" y="2489323"/>
                      <a:pt x="2609850" y="2505075"/>
                    </a:cubicBezTo>
                    <a:cubicBezTo>
                      <a:pt x="2619375" y="2511425"/>
                      <a:pt x="2629110" y="2517471"/>
                      <a:pt x="2638425" y="2524125"/>
                    </a:cubicBezTo>
                    <a:cubicBezTo>
                      <a:pt x="2651343" y="2533352"/>
                      <a:pt x="2663063" y="2544286"/>
                      <a:pt x="2676525" y="2552700"/>
                    </a:cubicBezTo>
                    <a:cubicBezTo>
                      <a:pt x="2688566" y="2560225"/>
                      <a:pt x="2701925" y="2565400"/>
                      <a:pt x="2714625" y="2571750"/>
                    </a:cubicBezTo>
                    <a:cubicBezTo>
                      <a:pt x="2776559" y="2664651"/>
                      <a:pt x="2679548" y="2520280"/>
                      <a:pt x="2762250" y="2638425"/>
                    </a:cubicBezTo>
                    <a:cubicBezTo>
                      <a:pt x="2775380" y="2657182"/>
                      <a:pt x="2787650" y="2676525"/>
                      <a:pt x="2800350" y="2695575"/>
                    </a:cubicBezTo>
                    <a:lnTo>
                      <a:pt x="2819400" y="2724150"/>
                    </a:lnTo>
                    <a:cubicBezTo>
                      <a:pt x="2825750" y="2733675"/>
                      <a:pt x="2834830" y="2741865"/>
                      <a:pt x="2838450" y="2752725"/>
                    </a:cubicBezTo>
                    <a:lnTo>
                      <a:pt x="2847975" y="2781300"/>
                    </a:lnTo>
                  </a:path>
                </a:pathLst>
              </a:custGeom>
              <a:ln w="38100">
                <a:solidFill>
                  <a:schemeClr val="tx1"/>
                </a:solidFill>
                <a:headEnd type="none" w="med" len="med"/>
                <a:tailEnd type="none" w="med" len="med"/>
              </a:ln>
              <a:effectLst>
                <a:outerShdw blurRad="12700" dist="12700" algn="l" rotWithShape="0">
                  <a:schemeClr val="bg1">
                    <a:alpha val="70000"/>
                  </a:schemeClr>
                </a:outerShdw>
              </a:effectLst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7286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</a:endParaRPr>
              </a:p>
            </p:txBody>
          </p:sp>
          <p:sp>
            <p:nvSpPr>
              <p:cNvPr id="14" name="Oval 13"/>
              <p:cNvSpPr/>
              <p:nvPr/>
            </p:nvSpPr>
            <p:spPr bwMode="auto">
              <a:xfrm>
                <a:off x="3381107" y="4408143"/>
                <a:ext cx="207209" cy="212960"/>
              </a:xfrm>
              <a:prstGeom prst="ellipse">
                <a:avLst/>
              </a:prstGeom>
              <a:solidFill>
                <a:schemeClr val="bg1"/>
              </a:solidFill>
              <a:ln w="31750" cap="flat" cmpd="sng" algn="ctr">
                <a:solidFill>
                  <a:srgbClr val="00B05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7286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1600" b="0" i="0" u="none" strike="noStrike" kern="1200" cap="none" spc="0" normalizeH="0" baseline="0" noProof="0">
                  <a:ln>
                    <a:noFill/>
                  </a:ln>
                  <a:solidFill>
                    <a:srgbClr val="69C9FF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Georgia" panose="02040502050405020303" pitchFamily="18" charset="0"/>
                </a:endParaRPr>
              </a:p>
            </p:txBody>
          </p:sp>
          <p:sp>
            <p:nvSpPr>
              <p:cNvPr id="15" name="Freeform 14"/>
              <p:cNvSpPr/>
              <p:nvPr/>
            </p:nvSpPr>
            <p:spPr bwMode="auto">
              <a:xfrm>
                <a:off x="1860337" y="2120009"/>
                <a:ext cx="6903326" cy="3365329"/>
              </a:xfrm>
              <a:custGeom>
                <a:avLst/>
                <a:gdLst>
                  <a:gd name="connsiteX0" fmla="*/ 0 w 5667375"/>
                  <a:gd name="connsiteY0" fmla="*/ 0 h 2838450"/>
                  <a:gd name="connsiteX1" fmla="*/ 66675 w 5667375"/>
                  <a:gd name="connsiteY1" fmla="*/ 9525 h 2838450"/>
                  <a:gd name="connsiteX2" fmla="*/ 104775 w 5667375"/>
                  <a:gd name="connsiteY2" fmla="*/ 28575 h 2838450"/>
                  <a:gd name="connsiteX3" fmla="*/ 133350 w 5667375"/>
                  <a:gd name="connsiteY3" fmla="*/ 38100 h 2838450"/>
                  <a:gd name="connsiteX4" fmla="*/ 161925 w 5667375"/>
                  <a:gd name="connsiteY4" fmla="*/ 57150 h 2838450"/>
                  <a:gd name="connsiteX5" fmla="*/ 219075 w 5667375"/>
                  <a:gd name="connsiteY5" fmla="*/ 76200 h 2838450"/>
                  <a:gd name="connsiteX6" fmla="*/ 285750 w 5667375"/>
                  <a:gd name="connsiteY6" fmla="*/ 114300 h 2838450"/>
                  <a:gd name="connsiteX7" fmla="*/ 409575 w 5667375"/>
                  <a:gd name="connsiteY7" fmla="*/ 133350 h 2838450"/>
                  <a:gd name="connsiteX8" fmla="*/ 447675 w 5667375"/>
                  <a:gd name="connsiteY8" fmla="*/ 142875 h 2838450"/>
                  <a:gd name="connsiteX9" fmla="*/ 523875 w 5667375"/>
                  <a:gd name="connsiteY9" fmla="*/ 152400 h 2838450"/>
                  <a:gd name="connsiteX10" fmla="*/ 571500 w 5667375"/>
                  <a:gd name="connsiteY10" fmla="*/ 161925 h 2838450"/>
                  <a:gd name="connsiteX11" fmla="*/ 657225 w 5667375"/>
                  <a:gd name="connsiteY11" fmla="*/ 171450 h 2838450"/>
                  <a:gd name="connsiteX12" fmla="*/ 752475 w 5667375"/>
                  <a:gd name="connsiteY12" fmla="*/ 219075 h 2838450"/>
                  <a:gd name="connsiteX13" fmla="*/ 790575 w 5667375"/>
                  <a:gd name="connsiteY13" fmla="*/ 247650 h 2838450"/>
                  <a:gd name="connsiteX14" fmla="*/ 923925 w 5667375"/>
                  <a:gd name="connsiteY14" fmla="*/ 295275 h 2838450"/>
                  <a:gd name="connsiteX15" fmla="*/ 1000125 w 5667375"/>
                  <a:gd name="connsiteY15" fmla="*/ 323850 h 2838450"/>
                  <a:gd name="connsiteX16" fmla="*/ 1085850 w 5667375"/>
                  <a:gd name="connsiteY16" fmla="*/ 352425 h 2838450"/>
                  <a:gd name="connsiteX17" fmla="*/ 1171575 w 5667375"/>
                  <a:gd name="connsiteY17" fmla="*/ 409575 h 2838450"/>
                  <a:gd name="connsiteX18" fmla="*/ 1200150 w 5667375"/>
                  <a:gd name="connsiteY18" fmla="*/ 428625 h 2838450"/>
                  <a:gd name="connsiteX19" fmla="*/ 1228725 w 5667375"/>
                  <a:gd name="connsiteY19" fmla="*/ 438150 h 2838450"/>
                  <a:gd name="connsiteX20" fmla="*/ 1285875 w 5667375"/>
                  <a:gd name="connsiteY20" fmla="*/ 476250 h 2838450"/>
                  <a:gd name="connsiteX21" fmla="*/ 1314450 w 5667375"/>
                  <a:gd name="connsiteY21" fmla="*/ 495300 h 2838450"/>
                  <a:gd name="connsiteX22" fmla="*/ 1390650 w 5667375"/>
                  <a:gd name="connsiteY22" fmla="*/ 533400 h 2838450"/>
                  <a:gd name="connsiteX23" fmla="*/ 1419225 w 5667375"/>
                  <a:gd name="connsiteY23" fmla="*/ 561975 h 2838450"/>
                  <a:gd name="connsiteX24" fmla="*/ 1495425 w 5667375"/>
                  <a:gd name="connsiteY24" fmla="*/ 609600 h 2838450"/>
                  <a:gd name="connsiteX25" fmla="*/ 1552575 w 5667375"/>
                  <a:gd name="connsiteY25" fmla="*/ 647700 h 2838450"/>
                  <a:gd name="connsiteX26" fmla="*/ 1590675 w 5667375"/>
                  <a:gd name="connsiteY26" fmla="*/ 676275 h 2838450"/>
                  <a:gd name="connsiteX27" fmla="*/ 1666875 w 5667375"/>
                  <a:gd name="connsiteY27" fmla="*/ 733425 h 2838450"/>
                  <a:gd name="connsiteX28" fmla="*/ 1704975 w 5667375"/>
                  <a:gd name="connsiteY28" fmla="*/ 742950 h 2838450"/>
                  <a:gd name="connsiteX29" fmla="*/ 1743075 w 5667375"/>
                  <a:gd name="connsiteY29" fmla="*/ 771525 h 2838450"/>
                  <a:gd name="connsiteX30" fmla="*/ 1800225 w 5667375"/>
                  <a:gd name="connsiteY30" fmla="*/ 809625 h 2838450"/>
                  <a:gd name="connsiteX31" fmla="*/ 1838325 w 5667375"/>
                  <a:gd name="connsiteY31" fmla="*/ 838200 h 2838450"/>
                  <a:gd name="connsiteX32" fmla="*/ 1885950 w 5667375"/>
                  <a:gd name="connsiteY32" fmla="*/ 876300 h 2838450"/>
                  <a:gd name="connsiteX33" fmla="*/ 1971675 w 5667375"/>
                  <a:gd name="connsiteY33" fmla="*/ 933450 h 2838450"/>
                  <a:gd name="connsiteX34" fmla="*/ 2000250 w 5667375"/>
                  <a:gd name="connsiteY34" fmla="*/ 952500 h 2838450"/>
                  <a:gd name="connsiteX35" fmla="*/ 2038350 w 5667375"/>
                  <a:gd name="connsiteY35" fmla="*/ 971550 h 2838450"/>
                  <a:gd name="connsiteX36" fmla="*/ 2133600 w 5667375"/>
                  <a:gd name="connsiteY36" fmla="*/ 1028700 h 2838450"/>
                  <a:gd name="connsiteX37" fmla="*/ 2190750 w 5667375"/>
                  <a:gd name="connsiteY37" fmla="*/ 1047750 h 2838450"/>
                  <a:gd name="connsiteX38" fmla="*/ 2266950 w 5667375"/>
                  <a:gd name="connsiteY38" fmla="*/ 1095375 h 2838450"/>
                  <a:gd name="connsiteX39" fmla="*/ 2295525 w 5667375"/>
                  <a:gd name="connsiteY39" fmla="*/ 1114425 h 2838450"/>
                  <a:gd name="connsiteX40" fmla="*/ 2324100 w 5667375"/>
                  <a:gd name="connsiteY40" fmla="*/ 1123950 h 2838450"/>
                  <a:gd name="connsiteX41" fmla="*/ 2362200 w 5667375"/>
                  <a:gd name="connsiteY41" fmla="*/ 1152525 h 2838450"/>
                  <a:gd name="connsiteX42" fmla="*/ 2390775 w 5667375"/>
                  <a:gd name="connsiteY42" fmla="*/ 1181100 h 2838450"/>
                  <a:gd name="connsiteX43" fmla="*/ 2428875 w 5667375"/>
                  <a:gd name="connsiteY43" fmla="*/ 1190625 h 2838450"/>
                  <a:gd name="connsiteX44" fmla="*/ 2476500 w 5667375"/>
                  <a:gd name="connsiteY44" fmla="*/ 1209675 h 2838450"/>
                  <a:gd name="connsiteX45" fmla="*/ 2533650 w 5667375"/>
                  <a:gd name="connsiteY45" fmla="*/ 1228725 h 2838450"/>
                  <a:gd name="connsiteX46" fmla="*/ 2562225 w 5667375"/>
                  <a:gd name="connsiteY46" fmla="*/ 1247775 h 2838450"/>
                  <a:gd name="connsiteX47" fmla="*/ 2590800 w 5667375"/>
                  <a:gd name="connsiteY47" fmla="*/ 1257300 h 2838450"/>
                  <a:gd name="connsiteX48" fmla="*/ 2647950 w 5667375"/>
                  <a:gd name="connsiteY48" fmla="*/ 1295400 h 2838450"/>
                  <a:gd name="connsiteX49" fmla="*/ 2686050 w 5667375"/>
                  <a:gd name="connsiteY49" fmla="*/ 1323975 h 2838450"/>
                  <a:gd name="connsiteX50" fmla="*/ 2714625 w 5667375"/>
                  <a:gd name="connsiteY50" fmla="*/ 1333500 h 2838450"/>
                  <a:gd name="connsiteX51" fmla="*/ 2752725 w 5667375"/>
                  <a:gd name="connsiteY51" fmla="*/ 1352550 h 2838450"/>
                  <a:gd name="connsiteX52" fmla="*/ 2819400 w 5667375"/>
                  <a:gd name="connsiteY52" fmla="*/ 1381125 h 2838450"/>
                  <a:gd name="connsiteX53" fmla="*/ 2847975 w 5667375"/>
                  <a:gd name="connsiteY53" fmla="*/ 1400175 h 2838450"/>
                  <a:gd name="connsiteX54" fmla="*/ 2905125 w 5667375"/>
                  <a:gd name="connsiteY54" fmla="*/ 1419225 h 2838450"/>
                  <a:gd name="connsiteX55" fmla="*/ 2933700 w 5667375"/>
                  <a:gd name="connsiteY55" fmla="*/ 1428750 h 2838450"/>
                  <a:gd name="connsiteX56" fmla="*/ 2971800 w 5667375"/>
                  <a:gd name="connsiteY56" fmla="*/ 1447800 h 2838450"/>
                  <a:gd name="connsiteX57" fmla="*/ 3028950 w 5667375"/>
                  <a:gd name="connsiteY57" fmla="*/ 1466850 h 2838450"/>
                  <a:gd name="connsiteX58" fmla="*/ 3105150 w 5667375"/>
                  <a:gd name="connsiteY58" fmla="*/ 1514475 h 2838450"/>
                  <a:gd name="connsiteX59" fmla="*/ 3143250 w 5667375"/>
                  <a:gd name="connsiteY59" fmla="*/ 1543050 h 2838450"/>
                  <a:gd name="connsiteX60" fmla="*/ 3190875 w 5667375"/>
                  <a:gd name="connsiteY60" fmla="*/ 1562100 h 2838450"/>
                  <a:gd name="connsiteX61" fmla="*/ 3248025 w 5667375"/>
                  <a:gd name="connsiteY61" fmla="*/ 1619250 h 2838450"/>
                  <a:gd name="connsiteX62" fmla="*/ 3314700 w 5667375"/>
                  <a:gd name="connsiteY62" fmla="*/ 1666875 h 2838450"/>
                  <a:gd name="connsiteX63" fmla="*/ 3352800 w 5667375"/>
                  <a:gd name="connsiteY63" fmla="*/ 1695450 h 2838450"/>
                  <a:gd name="connsiteX64" fmla="*/ 3419475 w 5667375"/>
                  <a:gd name="connsiteY64" fmla="*/ 1762125 h 2838450"/>
                  <a:gd name="connsiteX65" fmla="*/ 3486150 w 5667375"/>
                  <a:gd name="connsiteY65" fmla="*/ 1809750 h 2838450"/>
                  <a:gd name="connsiteX66" fmla="*/ 3514725 w 5667375"/>
                  <a:gd name="connsiteY66" fmla="*/ 1838325 h 2838450"/>
                  <a:gd name="connsiteX67" fmla="*/ 3533775 w 5667375"/>
                  <a:gd name="connsiteY67" fmla="*/ 1866900 h 2838450"/>
                  <a:gd name="connsiteX68" fmla="*/ 3562350 w 5667375"/>
                  <a:gd name="connsiteY68" fmla="*/ 1876425 h 2838450"/>
                  <a:gd name="connsiteX69" fmla="*/ 3629025 w 5667375"/>
                  <a:gd name="connsiteY69" fmla="*/ 1924050 h 2838450"/>
                  <a:gd name="connsiteX70" fmla="*/ 3667125 w 5667375"/>
                  <a:gd name="connsiteY70" fmla="*/ 1943100 h 2838450"/>
                  <a:gd name="connsiteX71" fmla="*/ 3714750 w 5667375"/>
                  <a:gd name="connsiteY71" fmla="*/ 1971675 h 2838450"/>
                  <a:gd name="connsiteX72" fmla="*/ 3771900 w 5667375"/>
                  <a:gd name="connsiteY72" fmla="*/ 1990725 h 2838450"/>
                  <a:gd name="connsiteX73" fmla="*/ 3876675 w 5667375"/>
                  <a:gd name="connsiteY73" fmla="*/ 2047875 h 2838450"/>
                  <a:gd name="connsiteX74" fmla="*/ 3981450 w 5667375"/>
                  <a:gd name="connsiteY74" fmla="*/ 2076450 h 2838450"/>
                  <a:gd name="connsiteX75" fmla="*/ 4010025 w 5667375"/>
                  <a:gd name="connsiteY75" fmla="*/ 2085975 h 2838450"/>
                  <a:gd name="connsiteX76" fmla="*/ 4057650 w 5667375"/>
                  <a:gd name="connsiteY76" fmla="*/ 2095500 h 2838450"/>
                  <a:gd name="connsiteX77" fmla="*/ 4114800 w 5667375"/>
                  <a:gd name="connsiteY77" fmla="*/ 2114550 h 2838450"/>
                  <a:gd name="connsiteX78" fmla="*/ 4152900 w 5667375"/>
                  <a:gd name="connsiteY78" fmla="*/ 2124075 h 2838450"/>
                  <a:gd name="connsiteX79" fmla="*/ 4181475 w 5667375"/>
                  <a:gd name="connsiteY79" fmla="*/ 2133600 h 2838450"/>
                  <a:gd name="connsiteX80" fmla="*/ 4219575 w 5667375"/>
                  <a:gd name="connsiteY80" fmla="*/ 2143125 h 2838450"/>
                  <a:gd name="connsiteX81" fmla="*/ 4257675 w 5667375"/>
                  <a:gd name="connsiteY81" fmla="*/ 2162175 h 2838450"/>
                  <a:gd name="connsiteX82" fmla="*/ 4295775 w 5667375"/>
                  <a:gd name="connsiteY82" fmla="*/ 2171700 h 2838450"/>
                  <a:gd name="connsiteX83" fmla="*/ 4381500 w 5667375"/>
                  <a:gd name="connsiteY83" fmla="*/ 2200275 h 2838450"/>
                  <a:gd name="connsiteX84" fmla="*/ 4552950 w 5667375"/>
                  <a:gd name="connsiteY84" fmla="*/ 2247900 h 2838450"/>
                  <a:gd name="connsiteX85" fmla="*/ 4581525 w 5667375"/>
                  <a:gd name="connsiteY85" fmla="*/ 2257425 h 2838450"/>
                  <a:gd name="connsiteX86" fmla="*/ 4638675 w 5667375"/>
                  <a:gd name="connsiteY86" fmla="*/ 2266950 h 2838450"/>
                  <a:gd name="connsiteX87" fmla="*/ 4686300 w 5667375"/>
                  <a:gd name="connsiteY87" fmla="*/ 2286000 h 2838450"/>
                  <a:gd name="connsiteX88" fmla="*/ 4772025 w 5667375"/>
                  <a:gd name="connsiteY88" fmla="*/ 2305050 h 2838450"/>
                  <a:gd name="connsiteX89" fmla="*/ 4848225 w 5667375"/>
                  <a:gd name="connsiteY89" fmla="*/ 2343150 h 2838450"/>
                  <a:gd name="connsiteX90" fmla="*/ 4905375 w 5667375"/>
                  <a:gd name="connsiteY90" fmla="*/ 2362200 h 2838450"/>
                  <a:gd name="connsiteX91" fmla="*/ 4991100 w 5667375"/>
                  <a:gd name="connsiteY91" fmla="*/ 2409825 h 2838450"/>
                  <a:gd name="connsiteX92" fmla="*/ 5029200 w 5667375"/>
                  <a:gd name="connsiteY92" fmla="*/ 2438400 h 2838450"/>
                  <a:gd name="connsiteX93" fmla="*/ 5086350 w 5667375"/>
                  <a:gd name="connsiteY93" fmla="*/ 2476500 h 2838450"/>
                  <a:gd name="connsiteX94" fmla="*/ 5143500 w 5667375"/>
                  <a:gd name="connsiteY94" fmla="*/ 2524125 h 2838450"/>
                  <a:gd name="connsiteX95" fmla="*/ 5172075 w 5667375"/>
                  <a:gd name="connsiteY95" fmla="*/ 2533650 h 2838450"/>
                  <a:gd name="connsiteX96" fmla="*/ 5238750 w 5667375"/>
                  <a:gd name="connsiteY96" fmla="*/ 2581275 h 2838450"/>
                  <a:gd name="connsiteX97" fmla="*/ 5267325 w 5667375"/>
                  <a:gd name="connsiteY97" fmla="*/ 2590800 h 2838450"/>
                  <a:gd name="connsiteX98" fmla="*/ 5314950 w 5667375"/>
                  <a:gd name="connsiteY98" fmla="*/ 2628900 h 2838450"/>
                  <a:gd name="connsiteX99" fmla="*/ 5353050 w 5667375"/>
                  <a:gd name="connsiteY99" fmla="*/ 2647950 h 2838450"/>
                  <a:gd name="connsiteX100" fmla="*/ 5400675 w 5667375"/>
                  <a:gd name="connsiteY100" fmla="*/ 2686050 h 2838450"/>
                  <a:gd name="connsiteX101" fmla="*/ 5429250 w 5667375"/>
                  <a:gd name="connsiteY101" fmla="*/ 2695575 h 2838450"/>
                  <a:gd name="connsiteX102" fmla="*/ 5476875 w 5667375"/>
                  <a:gd name="connsiteY102" fmla="*/ 2714625 h 2838450"/>
                  <a:gd name="connsiteX103" fmla="*/ 5505450 w 5667375"/>
                  <a:gd name="connsiteY103" fmla="*/ 2733675 h 2838450"/>
                  <a:gd name="connsiteX104" fmla="*/ 5543550 w 5667375"/>
                  <a:gd name="connsiteY104" fmla="*/ 2752725 h 2838450"/>
                  <a:gd name="connsiteX105" fmla="*/ 5572125 w 5667375"/>
                  <a:gd name="connsiteY105" fmla="*/ 2771775 h 2838450"/>
                  <a:gd name="connsiteX106" fmla="*/ 5600700 w 5667375"/>
                  <a:gd name="connsiteY106" fmla="*/ 2781300 h 2838450"/>
                  <a:gd name="connsiteX107" fmla="*/ 5667375 w 5667375"/>
                  <a:gd name="connsiteY107" fmla="*/ 2838450 h 2838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</a:cxnLst>
                <a:rect l="l" t="t" r="r" b="b"/>
                <a:pathLst>
                  <a:path w="5667375" h="2838450">
                    <a:moveTo>
                      <a:pt x="0" y="0"/>
                    </a:moveTo>
                    <a:cubicBezTo>
                      <a:pt x="22225" y="3175"/>
                      <a:pt x="45015" y="3618"/>
                      <a:pt x="66675" y="9525"/>
                    </a:cubicBezTo>
                    <a:cubicBezTo>
                      <a:pt x="80374" y="13261"/>
                      <a:pt x="91724" y="22982"/>
                      <a:pt x="104775" y="28575"/>
                    </a:cubicBezTo>
                    <a:cubicBezTo>
                      <a:pt x="114003" y="32530"/>
                      <a:pt x="124370" y="33610"/>
                      <a:pt x="133350" y="38100"/>
                    </a:cubicBezTo>
                    <a:cubicBezTo>
                      <a:pt x="143589" y="43220"/>
                      <a:pt x="151464" y="52501"/>
                      <a:pt x="161925" y="57150"/>
                    </a:cubicBezTo>
                    <a:cubicBezTo>
                      <a:pt x="180275" y="65305"/>
                      <a:pt x="202367" y="65061"/>
                      <a:pt x="219075" y="76200"/>
                    </a:cubicBezTo>
                    <a:cubicBezTo>
                      <a:pt x="238207" y="88954"/>
                      <a:pt x="263778" y="107708"/>
                      <a:pt x="285750" y="114300"/>
                    </a:cubicBezTo>
                    <a:cubicBezTo>
                      <a:pt x="299914" y="118549"/>
                      <a:pt x="399494" y="131517"/>
                      <a:pt x="409575" y="133350"/>
                    </a:cubicBezTo>
                    <a:cubicBezTo>
                      <a:pt x="422455" y="135692"/>
                      <a:pt x="434762" y="140723"/>
                      <a:pt x="447675" y="142875"/>
                    </a:cubicBezTo>
                    <a:cubicBezTo>
                      <a:pt x="472924" y="147083"/>
                      <a:pt x="498575" y="148508"/>
                      <a:pt x="523875" y="152400"/>
                    </a:cubicBezTo>
                    <a:cubicBezTo>
                      <a:pt x="539876" y="154862"/>
                      <a:pt x="555473" y="159635"/>
                      <a:pt x="571500" y="161925"/>
                    </a:cubicBezTo>
                    <a:cubicBezTo>
                      <a:pt x="599962" y="165991"/>
                      <a:pt x="628650" y="168275"/>
                      <a:pt x="657225" y="171450"/>
                    </a:cubicBezTo>
                    <a:cubicBezTo>
                      <a:pt x="725267" y="216812"/>
                      <a:pt x="692163" y="203997"/>
                      <a:pt x="752475" y="219075"/>
                    </a:cubicBezTo>
                    <a:cubicBezTo>
                      <a:pt x="765175" y="228600"/>
                      <a:pt x="776638" y="240048"/>
                      <a:pt x="790575" y="247650"/>
                    </a:cubicBezTo>
                    <a:cubicBezTo>
                      <a:pt x="842104" y="275757"/>
                      <a:pt x="868788" y="278734"/>
                      <a:pt x="923925" y="295275"/>
                    </a:cubicBezTo>
                    <a:cubicBezTo>
                      <a:pt x="967670" y="308399"/>
                      <a:pt x="944967" y="304151"/>
                      <a:pt x="1000125" y="323850"/>
                    </a:cubicBezTo>
                    <a:cubicBezTo>
                      <a:pt x="1028491" y="333981"/>
                      <a:pt x="1060788" y="335717"/>
                      <a:pt x="1085850" y="352425"/>
                    </a:cubicBezTo>
                    <a:lnTo>
                      <a:pt x="1171575" y="409575"/>
                    </a:lnTo>
                    <a:cubicBezTo>
                      <a:pt x="1181100" y="415925"/>
                      <a:pt x="1189290" y="425005"/>
                      <a:pt x="1200150" y="428625"/>
                    </a:cubicBezTo>
                    <a:cubicBezTo>
                      <a:pt x="1209675" y="431800"/>
                      <a:pt x="1219948" y="433274"/>
                      <a:pt x="1228725" y="438150"/>
                    </a:cubicBezTo>
                    <a:cubicBezTo>
                      <a:pt x="1248739" y="449269"/>
                      <a:pt x="1266825" y="463550"/>
                      <a:pt x="1285875" y="476250"/>
                    </a:cubicBezTo>
                    <a:cubicBezTo>
                      <a:pt x="1295400" y="482600"/>
                      <a:pt x="1304211" y="490180"/>
                      <a:pt x="1314450" y="495300"/>
                    </a:cubicBezTo>
                    <a:cubicBezTo>
                      <a:pt x="1339850" y="508000"/>
                      <a:pt x="1370570" y="513320"/>
                      <a:pt x="1390650" y="533400"/>
                    </a:cubicBezTo>
                    <a:cubicBezTo>
                      <a:pt x="1400175" y="542925"/>
                      <a:pt x="1408331" y="554052"/>
                      <a:pt x="1419225" y="561975"/>
                    </a:cubicBezTo>
                    <a:cubicBezTo>
                      <a:pt x="1443449" y="579592"/>
                      <a:pt x="1474245" y="588420"/>
                      <a:pt x="1495425" y="609600"/>
                    </a:cubicBezTo>
                    <a:cubicBezTo>
                      <a:pt x="1531100" y="645275"/>
                      <a:pt x="1511221" y="633915"/>
                      <a:pt x="1552575" y="647700"/>
                    </a:cubicBezTo>
                    <a:cubicBezTo>
                      <a:pt x="1565275" y="657225"/>
                      <a:pt x="1578622" y="665944"/>
                      <a:pt x="1590675" y="676275"/>
                    </a:cubicBezTo>
                    <a:cubicBezTo>
                      <a:pt x="1630535" y="710440"/>
                      <a:pt x="1610182" y="708228"/>
                      <a:pt x="1666875" y="733425"/>
                    </a:cubicBezTo>
                    <a:cubicBezTo>
                      <a:pt x="1678838" y="738742"/>
                      <a:pt x="1692275" y="739775"/>
                      <a:pt x="1704975" y="742950"/>
                    </a:cubicBezTo>
                    <a:cubicBezTo>
                      <a:pt x="1717675" y="752475"/>
                      <a:pt x="1730070" y="762421"/>
                      <a:pt x="1743075" y="771525"/>
                    </a:cubicBezTo>
                    <a:cubicBezTo>
                      <a:pt x="1761832" y="784655"/>
                      <a:pt x="1781909" y="795888"/>
                      <a:pt x="1800225" y="809625"/>
                    </a:cubicBezTo>
                    <a:cubicBezTo>
                      <a:pt x="1812925" y="819150"/>
                      <a:pt x="1827100" y="826975"/>
                      <a:pt x="1838325" y="838200"/>
                    </a:cubicBezTo>
                    <a:cubicBezTo>
                      <a:pt x="1881409" y="881284"/>
                      <a:pt x="1830320" y="857757"/>
                      <a:pt x="1885950" y="876300"/>
                    </a:cubicBezTo>
                    <a:cubicBezTo>
                      <a:pt x="1949363" y="923860"/>
                      <a:pt x="1898190" y="887522"/>
                      <a:pt x="1971675" y="933450"/>
                    </a:cubicBezTo>
                    <a:cubicBezTo>
                      <a:pt x="1981383" y="939517"/>
                      <a:pt x="1990311" y="946820"/>
                      <a:pt x="2000250" y="952500"/>
                    </a:cubicBezTo>
                    <a:cubicBezTo>
                      <a:pt x="2012578" y="959545"/>
                      <a:pt x="2026174" y="964245"/>
                      <a:pt x="2038350" y="971550"/>
                    </a:cubicBezTo>
                    <a:cubicBezTo>
                      <a:pt x="2083075" y="998385"/>
                      <a:pt x="2090054" y="1011282"/>
                      <a:pt x="2133600" y="1028700"/>
                    </a:cubicBezTo>
                    <a:cubicBezTo>
                      <a:pt x="2152244" y="1036158"/>
                      <a:pt x="2172789" y="1038770"/>
                      <a:pt x="2190750" y="1047750"/>
                    </a:cubicBezTo>
                    <a:cubicBezTo>
                      <a:pt x="2217541" y="1061145"/>
                      <a:pt x="2242028" y="1078760"/>
                      <a:pt x="2266950" y="1095375"/>
                    </a:cubicBezTo>
                    <a:cubicBezTo>
                      <a:pt x="2276475" y="1101725"/>
                      <a:pt x="2285286" y="1109305"/>
                      <a:pt x="2295525" y="1114425"/>
                    </a:cubicBezTo>
                    <a:cubicBezTo>
                      <a:pt x="2304505" y="1118915"/>
                      <a:pt x="2314575" y="1120775"/>
                      <a:pt x="2324100" y="1123950"/>
                    </a:cubicBezTo>
                    <a:cubicBezTo>
                      <a:pt x="2336800" y="1133475"/>
                      <a:pt x="2350147" y="1142194"/>
                      <a:pt x="2362200" y="1152525"/>
                    </a:cubicBezTo>
                    <a:cubicBezTo>
                      <a:pt x="2372427" y="1161291"/>
                      <a:pt x="2379079" y="1174417"/>
                      <a:pt x="2390775" y="1181100"/>
                    </a:cubicBezTo>
                    <a:cubicBezTo>
                      <a:pt x="2402141" y="1187595"/>
                      <a:pt x="2416456" y="1186485"/>
                      <a:pt x="2428875" y="1190625"/>
                    </a:cubicBezTo>
                    <a:cubicBezTo>
                      <a:pt x="2445095" y="1196032"/>
                      <a:pt x="2460432" y="1203832"/>
                      <a:pt x="2476500" y="1209675"/>
                    </a:cubicBezTo>
                    <a:cubicBezTo>
                      <a:pt x="2495371" y="1216537"/>
                      <a:pt x="2516942" y="1217586"/>
                      <a:pt x="2533650" y="1228725"/>
                    </a:cubicBezTo>
                    <a:cubicBezTo>
                      <a:pt x="2543175" y="1235075"/>
                      <a:pt x="2551986" y="1242655"/>
                      <a:pt x="2562225" y="1247775"/>
                    </a:cubicBezTo>
                    <a:cubicBezTo>
                      <a:pt x="2571205" y="1252265"/>
                      <a:pt x="2582023" y="1252424"/>
                      <a:pt x="2590800" y="1257300"/>
                    </a:cubicBezTo>
                    <a:cubicBezTo>
                      <a:pt x="2610814" y="1268419"/>
                      <a:pt x="2629634" y="1281663"/>
                      <a:pt x="2647950" y="1295400"/>
                    </a:cubicBezTo>
                    <a:cubicBezTo>
                      <a:pt x="2660650" y="1304925"/>
                      <a:pt x="2672267" y="1316099"/>
                      <a:pt x="2686050" y="1323975"/>
                    </a:cubicBezTo>
                    <a:cubicBezTo>
                      <a:pt x="2694767" y="1328956"/>
                      <a:pt x="2705397" y="1329545"/>
                      <a:pt x="2714625" y="1333500"/>
                    </a:cubicBezTo>
                    <a:cubicBezTo>
                      <a:pt x="2727676" y="1339093"/>
                      <a:pt x="2739799" y="1346674"/>
                      <a:pt x="2752725" y="1352550"/>
                    </a:cubicBezTo>
                    <a:cubicBezTo>
                      <a:pt x="2774738" y="1362556"/>
                      <a:pt x="2797773" y="1370311"/>
                      <a:pt x="2819400" y="1381125"/>
                    </a:cubicBezTo>
                    <a:cubicBezTo>
                      <a:pt x="2829639" y="1386245"/>
                      <a:pt x="2837514" y="1395526"/>
                      <a:pt x="2847975" y="1400175"/>
                    </a:cubicBezTo>
                    <a:cubicBezTo>
                      <a:pt x="2866325" y="1408330"/>
                      <a:pt x="2886075" y="1412875"/>
                      <a:pt x="2905125" y="1419225"/>
                    </a:cubicBezTo>
                    <a:cubicBezTo>
                      <a:pt x="2914650" y="1422400"/>
                      <a:pt x="2924720" y="1424260"/>
                      <a:pt x="2933700" y="1428750"/>
                    </a:cubicBezTo>
                    <a:cubicBezTo>
                      <a:pt x="2946400" y="1435100"/>
                      <a:pt x="2958617" y="1442527"/>
                      <a:pt x="2971800" y="1447800"/>
                    </a:cubicBezTo>
                    <a:cubicBezTo>
                      <a:pt x="2990444" y="1455258"/>
                      <a:pt x="3010989" y="1457870"/>
                      <a:pt x="3028950" y="1466850"/>
                    </a:cubicBezTo>
                    <a:cubicBezTo>
                      <a:pt x="3055741" y="1480245"/>
                      <a:pt x="3081188" y="1496503"/>
                      <a:pt x="3105150" y="1514475"/>
                    </a:cubicBezTo>
                    <a:cubicBezTo>
                      <a:pt x="3117850" y="1524000"/>
                      <a:pt x="3129373" y="1535340"/>
                      <a:pt x="3143250" y="1543050"/>
                    </a:cubicBezTo>
                    <a:cubicBezTo>
                      <a:pt x="3158196" y="1551353"/>
                      <a:pt x="3175000" y="1555750"/>
                      <a:pt x="3190875" y="1562100"/>
                    </a:cubicBezTo>
                    <a:cubicBezTo>
                      <a:pt x="3209925" y="1581150"/>
                      <a:pt x="3223928" y="1607202"/>
                      <a:pt x="3248025" y="1619250"/>
                    </a:cubicBezTo>
                    <a:cubicBezTo>
                      <a:pt x="3314455" y="1652465"/>
                      <a:pt x="3260639" y="1620537"/>
                      <a:pt x="3314700" y="1666875"/>
                    </a:cubicBezTo>
                    <a:cubicBezTo>
                      <a:pt x="3326753" y="1677206"/>
                      <a:pt x="3341053" y="1684771"/>
                      <a:pt x="3352800" y="1695450"/>
                    </a:cubicBezTo>
                    <a:cubicBezTo>
                      <a:pt x="3376057" y="1716593"/>
                      <a:pt x="3393323" y="1744690"/>
                      <a:pt x="3419475" y="1762125"/>
                    </a:cubicBezTo>
                    <a:cubicBezTo>
                      <a:pt x="3442090" y="1777202"/>
                      <a:pt x="3465475" y="1792028"/>
                      <a:pt x="3486150" y="1809750"/>
                    </a:cubicBezTo>
                    <a:cubicBezTo>
                      <a:pt x="3496377" y="1818516"/>
                      <a:pt x="3506101" y="1827977"/>
                      <a:pt x="3514725" y="1838325"/>
                    </a:cubicBezTo>
                    <a:cubicBezTo>
                      <a:pt x="3522054" y="1847119"/>
                      <a:pt x="3524836" y="1859749"/>
                      <a:pt x="3533775" y="1866900"/>
                    </a:cubicBezTo>
                    <a:cubicBezTo>
                      <a:pt x="3541615" y="1873172"/>
                      <a:pt x="3553370" y="1871935"/>
                      <a:pt x="3562350" y="1876425"/>
                    </a:cubicBezTo>
                    <a:cubicBezTo>
                      <a:pt x="3582500" y="1886500"/>
                      <a:pt x="3611767" y="1913264"/>
                      <a:pt x="3629025" y="1924050"/>
                    </a:cubicBezTo>
                    <a:cubicBezTo>
                      <a:pt x="3641066" y="1931575"/>
                      <a:pt x="3654713" y="1936204"/>
                      <a:pt x="3667125" y="1943100"/>
                    </a:cubicBezTo>
                    <a:cubicBezTo>
                      <a:pt x="3683309" y="1952091"/>
                      <a:pt x="3697896" y="1964014"/>
                      <a:pt x="3714750" y="1971675"/>
                    </a:cubicBezTo>
                    <a:cubicBezTo>
                      <a:pt x="3733031" y="1979984"/>
                      <a:pt x="3754465" y="1980762"/>
                      <a:pt x="3771900" y="1990725"/>
                    </a:cubicBezTo>
                    <a:cubicBezTo>
                      <a:pt x="3786759" y="1999216"/>
                      <a:pt x="3851260" y="2037709"/>
                      <a:pt x="3876675" y="2047875"/>
                    </a:cubicBezTo>
                    <a:cubicBezTo>
                      <a:pt x="3944789" y="2075121"/>
                      <a:pt x="3917677" y="2060507"/>
                      <a:pt x="3981450" y="2076450"/>
                    </a:cubicBezTo>
                    <a:cubicBezTo>
                      <a:pt x="3991190" y="2078885"/>
                      <a:pt x="4000285" y="2083540"/>
                      <a:pt x="4010025" y="2085975"/>
                    </a:cubicBezTo>
                    <a:cubicBezTo>
                      <a:pt x="4025731" y="2089902"/>
                      <a:pt x="4042031" y="2091240"/>
                      <a:pt x="4057650" y="2095500"/>
                    </a:cubicBezTo>
                    <a:cubicBezTo>
                      <a:pt x="4077023" y="2100784"/>
                      <a:pt x="4095566" y="2108780"/>
                      <a:pt x="4114800" y="2114550"/>
                    </a:cubicBezTo>
                    <a:cubicBezTo>
                      <a:pt x="4127339" y="2118312"/>
                      <a:pt x="4140313" y="2120479"/>
                      <a:pt x="4152900" y="2124075"/>
                    </a:cubicBezTo>
                    <a:cubicBezTo>
                      <a:pt x="4162554" y="2126833"/>
                      <a:pt x="4171821" y="2130842"/>
                      <a:pt x="4181475" y="2133600"/>
                    </a:cubicBezTo>
                    <a:cubicBezTo>
                      <a:pt x="4194062" y="2137196"/>
                      <a:pt x="4207318" y="2138528"/>
                      <a:pt x="4219575" y="2143125"/>
                    </a:cubicBezTo>
                    <a:cubicBezTo>
                      <a:pt x="4232870" y="2148111"/>
                      <a:pt x="4244380" y="2157189"/>
                      <a:pt x="4257675" y="2162175"/>
                    </a:cubicBezTo>
                    <a:cubicBezTo>
                      <a:pt x="4269932" y="2166772"/>
                      <a:pt x="4283263" y="2167850"/>
                      <a:pt x="4295775" y="2171700"/>
                    </a:cubicBezTo>
                    <a:cubicBezTo>
                      <a:pt x="4324564" y="2180558"/>
                      <a:pt x="4352620" y="2191718"/>
                      <a:pt x="4381500" y="2200275"/>
                    </a:cubicBezTo>
                    <a:cubicBezTo>
                      <a:pt x="4438370" y="2217125"/>
                      <a:pt x="4496680" y="2229143"/>
                      <a:pt x="4552950" y="2247900"/>
                    </a:cubicBezTo>
                    <a:cubicBezTo>
                      <a:pt x="4562475" y="2251075"/>
                      <a:pt x="4571724" y="2255247"/>
                      <a:pt x="4581525" y="2257425"/>
                    </a:cubicBezTo>
                    <a:cubicBezTo>
                      <a:pt x="4600378" y="2261615"/>
                      <a:pt x="4619625" y="2263775"/>
                      <a:pt x="4638675" y="2266950"/>
                    </a:cubicBezTo>
                    <a:cubicBezTo>
                      <a:pt x="4654550" y="2273300"/>
                      <a:pt x="4670080" y="2280593"/>
                      <a:pt x="4686300" y="2286000"/>
                    </a:cubicBezTo>
                    <a:cubicBezTo>
                      <a:pt x="4706477" y="2292726"/>
                      <a:pt x="4753152" y="2301275"/>
                      <a:pt x="4772025" y="2305050"/>
                    </a:cubicBezTo>
                    <a:cubicBezTo>
                      <a:pt x="4797425" y="2317750"/>
                      <a:pt x="4821284" y="2334170"/>
                      <a:pt x="4848225" y="2343150"/>
                    </a:cubicBezTo>
                    <a:cubicBezTo>
                      <a:pt x="4867275" y="2349500"/>
                      <a:pt x="4887414" y="2353220"/>
                      <a:pt x="4905375" y="2362200"/>
                    </a:cubicBezTo>
                    <a:cubicBezTo>
                      <a:pt x="4941688" y="2380356"/>
                      <a:pt x="4955220" y="2385905"/>
                      <a:pt x="4991100" y="2409825"/>
                    </a:cubicBezTo>
                    <a:cubicBezTo>
                      <a:pt x="5004309" y="2418631"/>
                      <a:pt x="5016195" y="2429296"/>
                      <a:pt x="5029200" y="2438400"/>
                    </a:cubicBezTo>
                    <a:cubicBezTo>
                      <a:pt x="5047957" y="2451530"/>
                      <a:pt x="5070161" y="2460311"/>
                      <a:pt x="5086350" y="2476500"/>
                    </a:cubicBezTo>
                    <a:cubicBezTo>
                      <a:pt x="5107416" y="2497566"/>
                      <a:pt x="5116978" y="2510864"/>
                      <a:pt x="5143500" y="2524125"/>
                    </a:cubicBezTo>
                    <a:cubicBezTo>
                      <a:pt x="5152480" y="2528615"/>
                      <a:pt x="5163095" y="2529160"/>
                      <a:pt x="5172075" y="2533650"/>
                    </a:cubicBezTo>
                    <a:cubicBezTo>
                      <a:pt x="5201559" y="2548392"/>
                      <a:pt x="5208549" y="2564017"/>
                      <a:pt x="5238750" y="2581275"/>
                    </a:cubicBezTo>
                    <a:cubicBezTo>
                      <a:pt x="5247467" y="2586256"/>
                      <a:pt x="5257800" y="2587625"/>
                      <a:pt x="5267325" y="2590800"/>
                    </a:cubicBezTo>
                    <a:cubicBezTo>
                      <a:pt x="5283200" y="2603500"/>
                      <a:pt x="5298034" y="2617623"/>
                      <a:pt x="5314950" y="2628900"/>
                    </a:cubicBezTo>
                    <a:cubicBezTo>
                      <a:pt x="5326764" y="2636776"/>
                      <a:pt x="5341236" y="2640074"/>
                      <a:pt x="5353050" y="2647950"/>
                    </a:cubicBezTo>
                    <a:cubicBezTo>
                      <a:pt x="5369966" y="2659227"/>
                      <a:pt x="5383435" y="2675275"/>
                      <a:pt x="5400675" y="2686050"/>
                    </a:cubicBezTo>
                    <a:cubicBezTo>
                      <a:pt x="5409189" y="2691371"/>
                      <a:pt x="5419849" y="2692050"/>
                      <a:pt x="5429250" y="2695575"/>
                    </a:cubicBezTo>
                    <a:cubicBezTo>
                      <a:pt x="5445259" y="2701578"/>
                      <a:pt x="5461582" y="2706979"/>
                      <a:pt x="5476875" y="2714625"/>
                    </a:cubicBezTo>
                    <a:cubicBezTo>
                      <a:pt x="5487114" y="2719745"/>
                      <a:pt x="5495511" y="2727995"/>
                      <a:pt x="5505450" y="2733675"/>
                    </a:cubicBezTo>
                    <a:cubicBezTo>
                      <a:pt x="5517778" y="2740720"/>
                      <a:pt x="5531222" y="2745680"/>
                      <a:pt x="5543550" y="2752725"/>
                    </a:cubicBezTo>
                    <a:cubicBezTo>
                      <a:pt x="5553489" y="2758405"/>
                      <a:pt x="5561886" y="2766655"/>
                      <a:pt x="5572125" y="2771775"/>
                    </a:cubicBezTo>
                    <a:cubicBezTo>
                      <a:pt x="5581105" y="2776265"/>
                      <a:pt x="5591923" y="2776424"/>
                      <a:pt x="5600700" y="2781300"/>
                    </a:cubicBezTo>
                    <a:cubicBezTo>
                      <a:pt x="5658907" y="2813637"/>
                      <a:pt x="5649115" y="2801930"/>
                      <a:pt x="5667375" y="2838450"/>
                    </a:cubicBezTo>
                  </a:path>
                </a:pathLst>
              </a:custGeom>
              <a:ln w="381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7286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</a:endParaRPr>
              </a:p>
            </p:txBody>
          </p:sp>
          <p:sp>
            <p:nvSpPr>
              <p:cNvPr id="16" name="Oval 15"/>
              <p:cNvSpPr/>
              <p:nvPr/>
            </p:nvSpPr>
            <p:spPr bwMode="auto">
              <a:xfrm>
                <a:off x="6451225" y="4408135"/>
                <a:ext cx="207209" cy="212960"/>
              </a:xfrm>
              <a:prstGeom prst="ellipse">
                <a:avLst/>
              </a:prstGeom>
              <a:solidFill>
                <a:schemeClr val="bg1"/>
              </a:solidFill>
              <a:ln w="31750" cap="flat" cmpd="sng" algn="ctr">
                <a:solidFill>
                  <a:srgbClr val="FFC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7286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</a:endParaRPr>
              </a:p>
            </p:txBody>
          </p:sp>
          <p:sp>
            <p:nvSpPr>
              <p:cNvPr id="17" name="Freeform 16"/>
              <p:cNvSpPr/>
              <p:nvPr/>
            </p:nvSpPr>
            <p:spPr bwMode="auto">
              <a:xfrm>
                <a:off x="1860360" y="1806611"/>
                <a:ext cx="8519491" cy="2903926"/>
              </a:xfrm>
              <a:custGeom>
                <a:avLst/>
                <a:gdLst>
                  <a:gd name="connsiteX0" fmla="*/ 0 w 7515225"/>
                  <a:gd name="connsiteY0" fmla="*/ 0 h 2686075"/>
                  <a:gd name="connsiteX1" fmla="*/ 47625 w 7515225"/>
                  <a:gd name="connsiteY1" fmla="*/ 9525 h 2686075"/>
                  <a:gd name="connsiteX2" fmla="*/ 85725 w 7515225"/>
                  <a:gd name="connsiteY2" fmla="*/ 38100 h 2686075"/>
                  <a:gd name="connsiteX3" fmla="*/ 114300 w 7515225"/>
                  <a:gd name="connsiteY3" fmla="*/ 47625 h 2686075"/>
                  <a:gd name="connsiteX4" fmla="*/ 142875 w 7515225"/>
                  <a:gd name="connsiteY4" fmla="*/ 66675 h 2686075"/>
                  <a:gd name="connsiteX5" fmla="*/ 209550 w 7515225"/>
                  <a:gd name="connsiteY5" fmla="*/ 76200 h 2686075"/>
                  <a:gd name="connsiteX6" fmla="*/ 266700 w 7515225"/>
                  <a:gd name="connsiteY6" fmla="*/ 95250 h 2686075"/>
                  <a:gd name="connsiteX7" fmla="*/ 342900 w 7515225"/>
                  <a:gd name="connsiteY7" fmla="*/ 104775 h 2686075"/>
                  <a:gd name="connsiteX8" fmla="*/ 495300 w 7515225"/>
                  <a:gd name="connsiteY8" fmla="*/ 142875 h 2686075"/>
                  <a:gd name="connsiteX9" fmla="*/ 676275 w 7515225"/>
                  <a:gd name="connsiteY9" fmla="*/ 180975 h 2686075"/>
                  <a:gd name="connsiteX10" fmla="*/ 809625 w 7515225"/>
                  <a:gd name="connsiteY10" fmla="*/ 190500 h 2686075"/>
                  <a:gd name="connsiteX11" fmla="*/ 904875 w 7515225"/>
                  <a:gd name="connsiteY11" fmla="*/ 209550 h 2686075"/>
                  <a:gd name="connsiteX12" fmla="*/ 933450 w 7515225"/>
                  <a:gd name="connsiteY12" fmla="*/ 219075 h 2686075"/>
                  <a:gd name="connsiteX13" fmla="*/ 1009650 w 7515225"/>
                  <a:gd name="connsiteY13" fmla="*/ 238125 h 2686075"/>
                  <a:gd name="connsiteX14" fmla="*/ 1066800 w 7515225"/>
                  <a:gd name="connsiteY14" fmla="*/ 257175 h 2686075"/>
                  <a:gd name="connsiteX15" fmla="*/ 1209675 w 7515225"/>
                  <a:gd name="connsiteY15" fmla="*/ 295275 h 2686075"/>
                  <a:gd name="connsiteX16" fmla="*/ 1238250 w 7515225"/>
                  <a:gd name="connsiteY16" fmla="*/ 304800 h 2686075"/>
                  <a:gd name="connsiteX17" fmla="*/ 1323975 w 7515225"/>
                  <a:gd name="connsiteY17" fmla="*/ 333375 h 2686075"/>
                  <a:gd name="connsiteX18" fmla="*/ 1381125 w 7515225"/>
                  <a:gd name="connsiteY18" fmla="*/ 352425 h 2686075"/>
                  <a:gd name="connsiteX19" fmla="*/ 1457325 w 7515225"/>
                  <a:gd name="connsiteY19" fmla="*/ 371475 h 2686075"/>
                  <a:gd name="connsiteX20" fmla="*/ 1524000 w 7515225"/>
                  <a:gd name="connsiteY20" fmla="*/ 409575 h 2686075"/>
                  <a:gd name="connsiteX21" fmla="*/ 1600200 w 7515225"/>
                  <a:gd name="connsiteY21" fmla="*/ 428625 h 2686075"/>
                  <a:gd name="connsiteX22" fmla="*/ 1685925 w 7515225"/>
                  <a:gd name="connsiteY22" fmla="*/ 457200 h 2686075"/>
                  <a:gd name="connsiteX23" fmla="*/ 1724025 w 7515225"/>
                  <a:gd name="connsiteY23" fmla="*/ 466725 h 2686075"/>
                  <a:gd name="connsiteX24" fmla="*/ 1809750 w 7515225"/>
                  <a:gd name="connsiteY24" fmla="*/ 495300 h 2686075"/>
                  <a:gd name="connsiteX25" fmla="*/ 1857375 w 7515225"/>
                  <a:gd name="connsiteY25" fmla="*/ 504825 h 2686075"/>
                  <a:gd name="connsiteX26" fmla="*/ 1943100 w 7515225"/>
                  <a:gd name="connsiteY26" fmla="*/ 533400 h 2686075"/>
                  <a:gd name="connsiteX27" fmla="*/ 1971675 w 7515225"/>
                  <a:gd name="connsiteY27" fmla="*/ 542925 h 2686075"/>
                  <a:gd name="connsiteX28" fmla="*/ 2114550 w 7515225"/>
                  <a:gd name="connsiteY28" fmla="*/ 581025 h 2686075"/>
                  <a:gd name="connsiteX29" fmla="*/ 2143125 w 7515225"/>
                  <a:gd name="connsiteY29" fmla="*/ 609600 h 2686075"/>
                  <a:gd name="connsiteX30" fmla="*/ 2219325 w 7515225"/>
                  <a:gd name="connsiteY30" fmla="*/ 628650 h 2686075"/>
                  <a:gd name="connsiteX31" fmla="*/ 2247900 w 7515225"/>
                  <a:gd name="connsiteY31" fmla="*/ 638175 h 2686075"/>
                  <a:gd name="connsiteX32" fmla="*/ 2314575 w 7515225"/>
                  <a:gd name="connsiteY32" fmla="*/ 676275 h 2686075"/>
                  <a:gd name="connsiteX33" fmla="*/ 2343150 w 7515225"/>
                  <a:gd name="connsiteY33" fmla="*/ 685800 h 2686075"/>
                  <a:gd name="connsiteX34" fmla="*/ 2381250 w 7515225"/>
                  <a:gd name="connsiteY34" fmla="*/ 704850 h 2686075"/>
                  <a:gd name="connsiteX35" fmla="*/ 2447925 w 7515225"/>
                  <a:gd name="connsiteY35" fmla="*/ 723900 h 2686075"/>
                  <a:gd name="connsiteX36" fmla="*/ 2476500 w 7515225"/>
                  <a:gd name="connsiteY36" fmla="*/ 742950 h 2686075"/>
                  <a:gd name="connsiteX37" fmla="*/ 2505075 w 7515225"/>
                  <a:gd name="connsiteY37" fmla="*/ 752475 h 2686075"/>
                  <a:gd name="connsiteX38" fmla="*/ 2581275 w 7515225"/>
                  <a:gd name="connsiteY38" fmla="*/ 790575 h 2686075"/>
                  <a:gd name="connsiteX39" fmla="*/ 2638425 w 7515225"/>
                  <a:gd name="connsiteY39" fmla="*/ 819150 h 2686075"/>
                  <a:gd name="connsiteX40" fmla="*/ 2686050 w 7515225"/>
                  <a:gd name="connsiteY40" fmla="*/ 838200 h 2686075"/>
                  <a:gd name="connsiteX41" fmla="*/ 2762250 w 7515225"/>
                  <a:gd name="connsiteY41" fmla="*/ 876300 h 2686075"/>
                  <a:gd name="connsiteX42" fmla="*/ 2800350 w 7515225"/>
                  <a:gd name="connsiteY42" fmla="*/ 895350 h 2686075"/>
                  <a:gd name="connsiteX43" fmla="*/ 2847975 w 7515225"/>
                  <a:gd name="connsiteY43" fmla="*/ 904875 h 2686075"/>
                  <a:gd name="connsiteX44" fmla="*/ 2914650 w 7515225"/>
                  <a:gd name="connsiteY44" fmla="*/ 933450 h 2686075"/>
                  <a:gd name="connsiteX45" fmla="*/ 2971800 w 7515225"/>
                  <a:gd name="connsiteY45" fmla="*/ 942975 h 2686075"/>
                  <a:gd name="connsiteX46" fmla="*/ 3019425 w 7515225"/>
                  <a:gd name="connsiteY46" fmla="*/ 962025 h 2686075"/>
                  <a:gd name="connsiteX47" fmla="*/ 3095625 w 7515225"/>
                  <a:gd name="connsiteY47" fmla="*/ 1009650 h 2686075"/>
                  <a:gd name="connsiteX48" fmla="*/ 3124200 w 7515225"/>
                  <a:gd name="connsiteY48" fmla="*/ 1019175 h 2686075"/>
                  <a:gd name="connsiteX49" fmla="*/ 3190875 w 7515225"/>
                  <a:gd name="connsiteY49" fmla="*/ 1038225 h 2686075"/>
                  <a:gd name="connsiteX50" fmla="*/ 3219450 w 7515225"/>
                  <a:gd name="connsiteY50" fmla="*/ 1047750 h 2686075"/>
                  <a:gd name="connsiteX51" fmla="*/ 3295650 w 7515225"/>
                  <a:gd name="connsiteY51" fmla="*/ 1057275 h 2686075"/>
                  <a:gd name="connsiteX52" fmla="*/ 3324225 w 7515225"/>
                  <a:gd name="connsiteY52" fmla="*/ 1076325 h 2686075"/>
                  <a:gd name="connsiteX53" fmla="*/ 3390900 w 7515225"/>
                  <a:gd name="connsiteY53" fmla="*/ 1104900 h 2686075"/>
                  <a:gd name="connsiteX54" fmla="*/ 3429000 w 7515225"/>
                  <a:gd name="connsiteY54" fmla="*/ 1133475 h 2686075"/>
                  <a:gd name="connsiteX55" fmla="*/ 3514725 w 7515225"/>
                  <a:gd name="connsiteY55" fmla="*/ 1152525 h 2686075"/>
                  <a:gd name="connsiteX56" fmla="*/ 3600450 w 7515225"/>
                  <a:gd name="connsiteY56" fmla="*/ 1181100 h 2686075"/>
                  <a:gd name="connsiteX57" fmla="*/ 3686175 w 7515225"/>
                  <a:gd name="connsiteY57" fmla="*/ 1200150 h 2686075"/>
                  <a:gd name="connsiteX58" fmla="*/ 3752850 w 7515225"/>
                  <a:gd name="connsiteY58" fmla="*/ 1219200 h 2686075"/>
                  <a:gd name="connsiteX59" fmla="*/ 3867150 w 7515225"/>
                  <a:gd name="connsiteY59" fmla="*/ 1238250 h 2686075"/>
                  <a:gd name="connsiteX60" fmla="*/ 3962400 w 7515225"/>
                  <a:gd name="connsiteY60" fmla="*/ 1266825 h 2686075"/>
                  <a:gd name="connsiteX61" fmla="*/ 4000500 w 7515225"/>
                  <a:gd name="connsiteY61" fmla="*/ 1276350 h 2686075"/>
                  <a:gd name="connsiteX62" fmla="*/ 4057650 w 7515225"/>
                  <a:gd name="connsiteY62" fmla="*/ 1285875 h 2686075"/>
                  <a:gd name="connsiteX63" fmla="*/ 4086225 w 7515225"/>
                  <a:gd name="connsiteY63" fmla="*/ 1295400 h 2686075"/>
                  <a:gd name="connsiteX64" fmla="*/ 4143375 w 7515225"/>
                  <a:gd name="connsiteY64" fmla="*/ 1304925 h 2686075"/>
                  <a:gd name="connsiteX65" fmla="*/ 4219575 w 7515225"/>
                  <a:gd name="connsiteY65" fmla="*/ 1333500 h 2686075"/>
                  <a:gd name="connsiteX66" fmla="*/ 4248150 w 7515225"/>
                  <a:gd name="connsiteY66" fmla="*/ 1343025 h 2686075"/>
                  <a:gd name="connsiteX67" fmla="*/ 4314825 w 7515225"/>
                  <a:gd name="connsiteY67" fmla="*/ 1352550 h 2686075"/>
                  <a:gd name="connsiteX68" fmla="*/ 4429125 w 7515225"/>
                  <a:gd name="connsiteY68" fmla="*/ 1390650 h 2686075"/>
                  <a:gd name="connsiteX69" fmla="*/ 4457700 w 7515225"/>
                  <a:gd name="connsiteY69" fmla="*/ 1400175 h 2686075"/>
                  <a:gd name="connsiteX70" fmla="*/ 4524375 w 7515225"/>
                  <a:gd name="connsiteY70" fmla="*/ 1438275 h 2686075"/>
                  <a:gd name="connsiteX71" fmla="*/ 4591050 w 7515225"/>
                  <a:gd name="connsiteY71" fmla="*/ 1457325 h 2686075"/>
                  <a:gd name="connsiteX72" fmla="*/ 4657725 w 7515225"/>
                  <a:gd name="connsiteY72" fmla="*/ 1485900 h 2686075"/>
                  <a:gd name="connsiteX73" fmla="*/ 4686300 w 7515225"/>
                  <a:gd name="connsiteY73" fmla="*/ 1514475 h 2686075"/>
                  <a:gd name="connsiteX74" fmla="*/ 4724400 w 7515225"/>
                  <a:gd name="connsiteY74" fmla="*/ 1524000 h 2686075"/>
                  <a:gd name="connsiteX75" fmla="*/ 4752975 w 7515225"/>
                  <a:gd name="connsiteY75" fmla="*/ 1543050 h 2686075"/>
                  <a:gd name="connsiteX76" fmla="*/ 4781550 w 7515225"/>
                  <a:gd name="connsiteY76" fmla="*/ 1552575 h 2686075"/>
                  <a:gd name="connsiteX77" fmla="*/ 4838700 w 7515225"/>
                  <a:gd name="connsiteY77" fmla="*/ 1590675 h 2686075"/>
                  <a:gd name="connsiteX78" fmla="*/ 4876800 w 7515225"/>
                  <a:gd name="connsiteY78" fmla="*/ 1609725 h 2686075"/>
                  <a:gd name="connsiteX79" fmla="*/ 4905375 w 7515225"/>
                  <a:gd name="connsiteY79" fmla="*/ 1628775 h 2686075"/>
                  <a:gd name="connsiteX80" fmla="*/ 4981575 w 7515225"/>
                  <a:gd name="connsiteY80" fmla="*/ 1657350 h 2686075"/>
                  <a:gd name="connsiteX81" fmla="*/ 5048250 w 7515225"/>
                  <a:gd name="connsiteY81" fmla="*/ 1695450 h 2686075"/>
                  <a:gd name="connsiteX82" fmla="*/ 5076825 w 7515225"/>
                  <a:gd name="connsiteY82" fmla="*/ 1724025 h 2686075"/>
                  <a:gd name="connsiteX83" fmla="*/ 5114925 w 7515225"/>
                  <a:gd name="connsiteY83" fmla="*/ 1752600 h 2686075"/>
                  <a:gd name="connsiteX84" fmla="*/ 5162550 w 7515225"/>
                  <a:gd name="connsiteY84" fmla="*/ 1771650 h 2686075"/>
                  <a:gd name="connsiteX85" fmla="*/ 5267325 w 7515225"/>
                  <a:gd name="connsiteY85" fmla="*/ 1838325 h 2686075"/>
                  <a:gd name="connsiteX86" fmla="*/ 5305425 w 7515225"/>
                  <a:gd name="connsiteY86" fmla="*/ 1866900 h 2686075"/>
                  <a:gd name="connsiteX87" fmla="*/ 5353050 w 7515225"/>
                  <a:gd name="connsiteY87" fmla="*/ 1885950 h 2686075"/>
                  <a:gd name="connsiteX88" fmla="*/ 5391150 w 7515225"/>
                  <a:gd name="connsiteY88" fmla="*/ 1905000 h 2686075"/>
                  <a:gd name="connsiteX89" fmla="*/ 5419725 w 7515225"/>
                  <a:gd name="connsiteY89" fmla="*/ 1914525 h 2686075"/>
                  <a:gd name="connsiteX90" fmla="*/ 5476875 w 7515225"/>
                  <a:gd name="connsiteY90" fmla="*/ 1943100 h 2686075"/>
                  <a:gd name="connsiteX91" fmla="*/ 5514975 w 7515225"/>
                  <a:gd name="connsiteY91" fmla="*/ 1952625 h 2686075"/>
                  <a:gd name="connsiteX92" fmla="*/ 5572125 w 7515225"/>
                  <a:gd name="connsiteY92" fmla="*/ 1981200 h 2686075"/>
                  <a:gd name="connsiteX93" fmla="*/ 5619750 w 7515225"/>
                  <a:gd name="connsiteY93" fmla="*/ 1990725 h 2686075"/>
                  <a:gd name="connsiteX94" fmla="*/ 5657850 w 7515225"/>
                  <a:gd name="connsiteY94" fmla="*/ 2000250 h 2686075"/>
                  <a:gd name="connsiteX95" fmla="*/ 5695950 w 7515225"/>
                  <a:gd name="connsiteY95" fmla="*/ 2019300 h 2686075"/>
                  <a:gd name="connsiteX96" fmla="*/ 5753100 w 7515225"/>
                  <a:gd name="connsiteY96" fmla="*/ 2038350 h 2686075"/>
                  <a:gd name="connsiteX97" fmla="*/ 5781675 w 7515225"/>
                  <a:gd name="connsiteY97" fmla="*/ 2057400 h 2686075"/>
                  <a:gd name="connsiteX98" fmla="*/ 5848350 w 7515225"/>
                  <a:gd name="connsiteY98" fmla="*/ 2095500 h 2686075"/>
                  <a:gd name="connsiteX99" fmla="*/ 5876925 w 7515225"/>
                  <a:gd name="connsiteY99" fmla="*/ 2133600 h 2686075"/>
                  <a:gd name="connsiteX100" fmla="*/ 5991225 w 7515225"/>
                  <a:gd name="connsiteY100" fmla="*/ 2181225 h 2686075"/>
                  <a:gd name="connsiteX101" fmla="*/ 6048375 w 7515225"/>
                  <a:gd name="connsiteY101" fmla="*/ 2209800 h 2686075"/>
                  <a:gd name="connsiteX102" fmla="*/ 6115050 w 7515225"/>
                  <a:gd name="connsiteY102" fmla="*/ 2257425 h 2686075"/>
                  <a:gd name="connsiteX103" fmla="*/ 6143625 w 7515225"/>
                  <a:gd name="connsiteY103" fmla="*/ 2276475 h 2686075"/>
                  <a:gd name="connsiteX104" fmla="*/ 6181725 w 7515225"/>
                  <a:gd name="connsiteY104" fmla="*/ 2286000 h 2686075"/>
                  <a:gd name="connsiteX105" fmla="*/ 6219825 w 7515225"/>
                  <a:gd name="connsiteY105" fmla="*/ 2314575 h 2686075"/>
                  <a:gd name="connsiteX106" fmla="*/ 6257925 w 7515225"/>
                  <a:gd name="connsiteY106" fmla="*/ 2324100 h 2686075"/>
                  <a:gd name="connsiteX107" fmla="*/ 6296025 w 7515225"/>
                  <a:gd name="connsiteY107" fmla="*/ 2343150 h 2686075"/>
                  <a:gd name="connsiteX108" fmla="*/ 6343650 w 7515225"/>
                  <a:gd name="connsiteY108" fmla="*/ 2362200 h 2686075"/>
                  <a:gd name="connsiteX109" fmla="*/ 6372225 w 7515225"/>
                  <a:gd name="connsiteY109" fmla="*/ 2371725 h 2686075"/>
                  <a:gd name="connsiteX110" fmla="*/ 6419850 w 7515225"/>
                  <a:gd name="connsiteY110" fmla="*/ 2400300 h 2686075"/>
                  <a:gd name="connsiteX111" fmla="*/ 6505575 w 7515225"/>
                  <a:gd name="connsiteY111" fmla="*/ 2419350 h 2686075"/>
                  <a:gd name="connsiteX112" fmla="*/ 6610350 w 7515225"/>
                  <a:gd name="connsiteY112" fmla="*/ 2447925 h 2686075"/>
                  <a:gd name="connsiteX113" fmla="*/ 6667500 w 7515225"/>
                  <a:gd name="connsiteY113" fmla="*/ 2476500 h 2686075"/>
                  <a:gd name="connsiteX114" fmla="*/ 6734175 w 7515225"/>
                  <a:gd name="connsiteY114" fmla="*/ 2486025 h 2686075"/>
                  <a:gd name="connsiteX115" fmla="*/ 6791325 w 7515225"/>
                  <a:gd name="connsiteY115" fmla="*/ 2495550 h 2686075"/>
                  <a:gd name="connsiteX116" fmla="*/ 6877050 w 7515225"/>
                  <a:gd name="connsiteY116" fmla="*/ 2514600 h 2686075"/>
                  <a:gd name="connsiteX117" fmla="*/ 7029450 w 7515225"/>
                  <a:gd name="connsiteY117" fmla="*/ 2533650 h 2686075"/>
                  <a:gd name="connsiteX118" fmla="*/ 7105650 w 7515225"/>
                  <a:gd name="connsiteY118" fmla="*/ 2552700 h 2686075"/>
                  <a:gd name="connsiteX119" fmla="*/ 7134225 w 7515225"/>
                  <a:gd name="connsiteY119" fmla="*/ 2562225 h 2686075"/>
                  <a:gd name="connsiteX120" fmla="*/ 7219950 w 7515225"/>
                  <a:gd name="connsiteY120" fmla="*/ 2581275 h 2686075"/>
                  <a:gd name="connsiteX121" fmla="*/ 7248525 w 7515225"/>
                  <a:gd name="connsiteY121" fmla="*/ 2600325 h 2686075"/>
                  <a:gd name="connsiteX122" fmla="*/ 7315200 w 7515225"/>
                  <a:gd name="connsiteY122" fmla="*/ 2619375 h 2686075"/>
                  <a:gd name="connsiteX123" fmla="*/ 7400925 w 7515225"/>
                  <a:gd name="connsiteY123" fmla="*/ 2647950 h 2686075"/>
                  <a:gd name="connsiteX124" fmla="*/ 7477125 w 7515225"/>
                  <a:gd name="connsiteY124" fmla="*/ 2676525 h 2686075"/>
                  <a:gd name="connsiteX125" fmla="*/ 7515225 w 7515225"/>
                  <a:gd name="connsiteY125" fmla="*/ 2686050 h 268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</a:cxnLst>
                <a:rect l="l" t="t" r="r" b="b"/>
                <a:pathLst>
                  <a:path w="7515225" h="2686075">
                    <a:moveTo>
                      <a:pt x="0" y="0"/>
                    </a:moveTo>
                    <a:cubicBezTo>
                      <a:pt x="15875" y="3175"/>
                      <a:pt x="32831" y="2950"/>
                      <a:pt x="47625" y="9525"/>
                    </a:cubicBezTo>
                    <a:cubicBezTo>
                      <a:pt x="62132" y="15972"/>
                      <a:pt x="71942" y="30224"/>
                      <a:pt x="85725" y="38100"/>
                    </a:cubicBezTo>
                    <a:cubicBezTo>
                      <a:pt x="94442" y="43081"/>
                      <a:pt x="105320" y="43135"/>
                      <a:pt x="114300" y="47625"/>
                    </a:cubicBezTo>
                    <a:cubicBezTo>
                      <a:pt x="124539" y="52745"/>
                      <a:pt x="131910" y="63386"/>
                      <a:pt x="142875" y="66675"/>
                    </a:cubicBezTo>
                    <a:cubicBezTo>
                      <a:pt x="164379" y="73126"/>
                      <a:pt x="187325" y="73025"/>
                      <a:pt x="209550" y="76200"/>
                    </a:cubicBezTo>
                    <a:cubicBezTo>
                      <a:pt x="228600" y="82550"/>
                      <a:pt x="247065" y="91043"/>
                      <a:pt x="266700" y="95250"/>
                    </a:cubicBezTo>
                    <a:cubicBezTo>
                      <a:pt x="291729" y="100613"/>
                      <a:pt x="318287" y="97743"/>
                      <a:pt x="342900" y="104775"/>
                    </a:cubicBezTo>
                    <a:cubicBezTo>
                      <a:pt x="527462" y="157507"/>
                      <a:pt x="230731" y="116418"/>
                      <a:pt x="495300" y="142875"/>
                    </a:cubicBezTo>
                    <a:cubicBezTo>
                      <a:pt x="557273" y="158368"/>
                      <a:pt x="606804" y="171393"/>
                      <a:pt x="676275" y="180975"/>
                    </a:cubicBezTo>
                    <a:cubicBezTo>
                      <a:pt x="720420" y="187064"/>
                      <a:pt x="765175" y="187325"/>
                      <a:pt x="809625" y="190500"/>
                    </a:cubicBezTo>
                    <a:cubicBezTo>
                      <a:pt x="874183" y="212019"/>
                      <a:pt x="795426" y="187660"/>
                      <a:pt x="904875" y="209550"/>
                    </a:cubicBezTo>
                    <a:cubicBezTo>
                      <a:pt x="914720" y="211519"/>
                      <a:pt x="923764" y="216433"/>
                      <a:pt x="933450" y="219075"/>
                    </a:cubicBezTo>
                    <a:cubicBezTo>
                      <a:pt x="958709" y="225964"/>
                      <a:pt x="984812" y="229846"/>
                      <a:pt x="1009650" y="238125"/>
                    </a:cubicBezTo>
                    <a:cubicBezTo>
                      <a:pt x="1028700" y="244475"/>
                      <a:pt x="1046993" y="253874"/>
                      <a:pt x="1066800" y="257175"/>
                    </a:cubicBezTo>
                    <a:cubicBezTo>
                      <a:pt x="1153661" y="271652"/>
                      <a:pt x="1105628" y="260593"/>
                      <a:pt x="1209675" y="295275"/>
                    </a:cubicBezTo>
                    <a:cubicBezTo>
                      <a:pt x="1219200" y="298450"/>
                      <a:pt x="1229270" y="300310"/>
                      <a:pt x="1238250" y="304800"/>
                    </a:cubicBezTo>
                    <a:cubicBezTo>
                      <a:pt x="1308104" y="339727"/>
                      <a:pt x="1242731" y="311218"/>
                      <a:pt x="1323975" y="333375"/>
                    </a:cubicBezTo>
                    <a:cubicBezTo>
                      <a:pt x="1343348" y="338659"/>
                      <a:pt x="1361644" y="347555"/>
                      <a:pt x="1381125" y="352425"/>
                    </a:cubicBezTo>
                    <a:lnTo>
                      <a:pt x="1457325" y="371475"/>
                    </a:lnTo>
                    <a:cubicBezTo>
                      <a:pt x="1478228" y="385410"/>
                      <a:pt x="1499830" y="401518"/>
                      <a:pt x="1524000" y="409575"/>
                    </a:cubicBezTo>
                    <a:cubicBezTo>
                      <a:pt x="1548838" y="417854"/>
                      <a:pt x="1575362" y="420346"/>
                      <a:pt x="1600200" y="428625"/>
                    </a:cubicBezTo>
                    <a:cubicBezTo>
                      <a:pt x="1628775" y="438150"/>
                      <a:pt x="1656704" y="449895"/>
                      <a:pt x="1685925" y="457200"/>
                    </a:cubicBezTo>
                    <a:cubicBezTo>
                      <a:pt x="1698625" y="460375"/>
                      <a:pt x="1711513" y="462875"/>
                      <a:pt x="1724025" y="466725"/>
                    </a:cubicBezTo>
                    <a:cubicBezTo>
                      <a:pt x="1752814" y="475583"/>
                      <a:pt x="1780214" y="489393"/>
                      <a:pt x="1809750" y="495300"/>
                    </a:cubicBezTo>
                    <a:cubicBezTo>
                      <a:pt x="1825625" y="498475"/>
                      <a:pt x="1841809" y="500377"/>
                      <a:pt x="1857375" y="504825"/>
                    </a:cubicBezTo>
                    <a:cubicBezTo>
                      <a:pt x="1886337" y="513100"/>
                      <a:pt x="1914525" y="523875"/>
                      <a:pt x="1943100" y="533400"/>
                    </a:cubicBezTo>
                    <a:cubicBezTo>
                      <a:pt x="1952625" y="536575"/>
                      <a:pt x="1961830" y="540956"/>
                      <a:pt x="1971675" y="542925"/>
                    </a:cubicBezTo>
                    <a:cubicBezTo>
                      <a:pt x="2083691" y="565328"/>
                      <a:pt x="2036862" y="549950"/>
                      <a:pt x="2114550" y="581025"/>
                    </a:cubicBezTo>
                    <a:cubicBezTo>
                      <a:pt x="2124075" y="590550"/>
                      <a:pt x="2130862" y="604026"/>
                      <a:pt x="2143125" y="609600"/>
                    </a:cubicBezTo>
                    <a:cubicBezTo>
                      <a:pt x="2166960" y="620434"/>
                      <a:pt x="2194487" y="620371"/>
                      <a:pt x="2219325" y="628650"/>
                    </a:cubicBezTo>
                    <a:cubicBezTo>
                      <a:pt x="2228850" y="631825"/>
                      <a:pt x="2238672" y="634220"/>
                      <a:pt x="2247900" y="638175"/>
                    </a:cubicBezTo>
                    <a:cubicBezTo>
                      <a:pt x="2364792" y="688272"/>
                      <a:pt x="2218916" y="628446"/>
                      <a:pt x="2314575" y="676275"/>
                    </a:cubicBezTo>
                    <a:cubicBezTo>
                      <a:pt x="2323555" y="680765"/>
                      <a:pt x="2333922" y="681845"/>
                      <a:pt x="2343150" y="685800"/>
                    </a:cubicBezTo>
                    <a:cubicBezTo>
                      <a:pt x="2356201" y="691393"/>
                      <a:pt x="2367955" y="699864"/>
                      <a:pt x="2381250" y="704850"/>
                    </a:cubicBezTo>
                    <a:cubicBezTo>
                      <a:pt x="2405665" y="714005"/>
                      <a:pt x="2424898" y="712386"/>
                      <a:pt x="2447925" y="723900"/>
                    </a:cubicBezTo>
                    <a:cubicBezTo>
                      <a:pt x="2458164" y="729020"/>
                      <a:pt x="2466261" y="737830"/>
                      <a:pt x="2476500" y="742950"/>
                    </a:cubicBezTo>
                    <a:cubicBezTo>
                      <a:pt x="2485480" y="747440"/>
                      <a:pt x="2495935" y="748320"/>
                      <a:pt x="2505075" y="752475"/>
                    </a:cubicBezTo>
                    <a:cubicBezTo>
                      <a:pt x="2530928" y="764226"/>
                      <a:pt x="2555875" y="777875"/>
                      <a:pt x="2581275" y="790575"/>
                    </a:cubicBezTo>
                    <a:cubicBezTo>
                      <a:pt x="2600325" y="800100"/>
                      <a:pt x="2618650" y="811240"/>
                      <a:pt x="2638425" y="819150"/>
                    </a:cubicBezTo>
                    <a:lnTo>
                      <a:pt x="2686050" y="838200"/>
                    </a:lnTo>
                    <a:cubicBezTo>
                      <a:pt x="2736196" y="888346"/>
                      <a:pt x="2689249" y="851966"/>
                      <a:pt x="2762250" y="876300"/>
                    </a:cubicBezTo>
                    <a:cubicBezTo>
                      <a:pt x="2775720" y="880790"/>
                      <a:pt x="2786880" y="890860"/>
                      <a:pt x="2800350" y="895350"/>
                    </a:cubicBezTo>
                    <a:cubicBezTo>
                      <a:pt x="2815709" y="900470"/>
                      <a:pt x="2832269" y="900948"/>
                      <a:pt x="2847975" y="904875"/>
                    </a:cubicBezTo>
                    <a:cubicBezTo>
                      <a:pt x="2953108" y="931158"/>
                      <a:pt x="2778351" y="892560"/>
                      <a:pt x="2914650" y="933450"/>
                    </a:cubicBezTo>
                    <a:cubicBezTo>
                      <a:pt x="2933148" y="938999"/>
                      <a:pt x="2952750" y="939800"/>
                      <a:pt x="2971800" y="942975"/>
                    </a:cubicBezTo>
                    <a:cubicBezTo>
                      <a:pt x="2987675" y="949325"/>
                      <a:pt x="3004479" y="953722"/>
                      <a:pt x="3019425" y="962025"/>
                    </a:cubicBezTo>
                    <a:cubicBezTo>
                      <a:pt x="3111728" y="1013305"/>
                      <a:pt x="3005005" y="970813"/>
                      <a:pt x="3095625" y="1009650"/>
                    </a:cubicBezTo>
                    <a:cubicBezTo>
                      <a:pt x="3104853" y="1013605"/>
                      <a:pt x="3114583" y="1016290"/>
                      <a:pt x="3124200" y="1019175"/>
                    </a:cubicBezTo>
                    <a:cubicBezTo>
                      <a:pt x="3146340" y="1025817"/>
                      <a:pt x="3168735" y="1031583"/>
                      <a:pt x="3190875" y="1038225"/>
                    </a:cubicBezTo>
                    <a:cubicBezTo>
                      <a:pt x="3200492" y="1041110"/>
                      <a:pt x="3209572" y="1045954"/>
                      <a:pt x="3219450" y="1047750"/>
                    </a:cubicBezTo>
                    <a:cubicBezTo>
                      <a:pt x="3244635" y="1052329"/>
                      <a:pt x="3270250" y="1054100"/>
                      <a:pt x="3295650" y="1057275"/>
                    </a:cubicBezTo>
                    <a:cubicBezTo>
                      <a:pt x="3305175" y="1063625"/>
                      <a:pt x="3313986" y="1071205"/>
                      <a:pt x="3324225" y="1076325"/>
                    </a:cubicBezTo>
                    <a:cubicBezTo>
                      <a:pt x="3389040" y="1108733"/>
                      <a:pt x="3311618" y="1055349"/>
                      <a:pt x="3390900" y="1104900"/>
                    </a:cubicBezTo>
                    <a:cubicBezTo>
                      <a:pt x="3404362" y="1113314"/>
                      <a:pt x="3414801" y="1126375"/>
                      <a:pt x="3429000" y="1133475"/>
                    </a:cubicBezTo>
                    <a:cubicBezTo>
                      <a:pt x="3439588" y="1138769"/>
                      <a:pt x="3507711" y="1150521"/>
                      <a:pt x="3514725" y="1152525"/>
                    </a:cubicBezTo>
                    <a:cubicBezTo>
                      <a:pt x="3543687" y="1160800"/>
                      <a:pt x="3570914" y="1175193"/>
                      <a:pt x="3600450" y="1181100"/>
                    </a:cubicBezTo>
                    <a:cubicBezTo>
                      <a:pt x="3640117" y="1189033"/>
                      <a:pt x="3649183" y="1190061"/>
                      <a:pt x="3686175" y="1200150"/>
                    </a:cubicBezTo>
                    <a:cubicBezTo>
                      <a:pt x="3708475" y="1206232"/>
                      <a:pt x="3730231" y="1214438"/>
                      <a:pt x="3752850" y="1219200"/>
                    </a:cubicBezTo>
                    <a:cubicBezTo>
                      <a:pt x="3790647" y="1227157"/>
                      <a:pt x="3867150" y="1238250"/>
                      <a:pt x="3867150" y="1238250"/>
                    </a:cubicBezTo>
                    <a:cubicBezTo>
                      <a:pt x="3928337" y="1268843"/>
                      <a:pt x="3883338" y="1251013"/>
                      <a:pt x="3962400" y="1266825"/>
                    </a:cubicBezTo>
                    <a:cubicBezTo>
                      <a:pt x="3975237" y="1269392"/>
                      <a:pt x="3987663" y="1273783"/>
                      <a:pt x="4000500" y="1276350"/>
                    </a:cubicBezTo>
                    <a:cubicBezTo>
                      <a:pt x="4019438" y="1280138"/>
                      <a:pt x="4038797" y="1281685"/>
                      <a:pt x="4057650" y="1285875"/>
                    </a:cubicBezTo>
                    <a:cubicBezTo>
                      <a:pt x="4067451" y="1288053"/>
                      <a:pt x="4076424" y="1293222"/>
                      <a:pt x="4086225" y="1295400"/>
                    </a:cubicBezTo>
                    <a:cubicBezTo>
                      <a:pt x="4105078" y="1299590"/>
                      <a:pt x="4124522" y="1300735"/>
                      <a:pt x="4143375" y="1304925"/>
                    </a:cubicBezTo>
                    <a:cubicBezTo>
                      <a:pt x="4161064" y="1308856"/>
                      <a:pt x="4208789" y="1329455"/>
                      <a:pt x="4219575" y="1333500"/>
                    </a:cubicBezTo>
                    <a:cubicBezTo>
                      <a:pt x="4228976" y="1337025"/>
                      <a:pt x="4238305" y="1341056"/>
                      <a:pt x="4248150" y="1343025"/>
                    </a:cubicBezTo>
                    <a:cubicBezTo>
                      <a:pt x="4270165" y="1347428"/>
                      <a:pt x="4292600" y="1349375"/>
                      <a:pt x="4314825" y="1352550"/>
                    </a:cubicBezTo>
                    <a:lnTo>
                      <a:pt x="4429125" y="1390650"/>
                    </a:lnTo>
                    <a:cubicBezTo>
                      <a:pt x="4438650" y="1393825"/>
                      <a:pt x="4449346" y="1394606"/>
                      <a:pt x="4457700" y="1400175"/>
                    </a:cubicBezTo>
                    <a:cubicBezTo>
                      <a:pt x="4481387" y="1415966"/>
                      <a:pt x="4496753" y="1427917"/>
                      <a:pt x="4524375" y="1438275"/>
                    </a:cubicBezTo>
                    <a:cubicBezTo>
                      <a:pt x="4548790" y="1447430"/>
                      <a:pt x="4568023" y="1445811"/>
                      <a:pt x="4591050" y="1457325"/>
                    </a:cubicBezTo>
                    <a:cubicBezTo>
                      <a:pt x="4656829" y="1490214"/>
                      <a:pt x="4578431" y="1466076"/>
                      <a:pt x="4657725" y="1485900"/>
                    </a:cubicBezTo>
                    <a:cubicBezTo>
                      <a:pt x="4667250" y="1495425"/>
                      <a:pt x="4674604" y="1507792"/>
                      <a:pt x="4686300" y="1514475"/>
                    </a:cubicBezTo>
                    <a:cubicBezTo>
                      <a:pt x="4697666" y="1520970"/>
                      <a:pt x="4712368" y="1518843"/>
                      <a:pt x="4724400" y="1524000"/>
                    </a:cubicBezTo>
                    <a:cubicBezTo>
                      <a:pt x="4734922" y="1528509"/>
                      <a:pt x="4742736" y="1537930"/>
                      <a:pt x="4752975" y="1543050"/>
                    </a:cubicBezTo>
                    <a:cubicBezTo>
                      <a:pt x="4761955" y="1547540"/>
                      <a:pt x="4772773" y="1547699"/>
                      <a:pt x="4781550" y="1552575"/>
                    </a:cubicBezTo>
                    <a:cubicBezTo>
                      <a:pt x="4801564" y="1563694"/>
                      <a:pt x="4818222" y="1580436"/>
                      <a:pt x="4838700" y="1590675"/>
                    </a:cubicBezTo>
                    <a:cubicBezTo>
                      <a:pt x="4851400" y="1597025"/>
                      <a:pt x="4864472" y="1602680"/>
                      <a:pt x="4876800" y="1609725"/>
                    </a:cubicBezTo>
                    <a:cubicBezTo>
                      <a:pt x="4886739" y="1615405"/>
                      <a:pt x="4895136" y="1623655"/>
                      <a:pt x="4905375" y="1628775"/>
                    </a:cubicBezTo>
                    <a:cubicBezTo>
                      <a:pt x="4928154" y="1640164"/>
                      <a:pt x="4956844" y="1649106"/>
                      <a:pt x="4981575" y="1657350"/>
                    </a:cubicBezTo>
                    <a:cubicBezTo>
                      <a:pt x="5058895" y="1734670"/>
                      <a:pt x="4958706" y="1644282"/>
                      <a:pt x="5048250" y="1695450"/>
                    </a:cubicBezTo>
                    <a:cubicBezTo>
                      <a:pt x="5059946" y="1702133"/>
                      <a:pt x="5066598" y="1715259"/>
                      <a:pt x="5076825" y="1724025"/>
                    </a:cubicBezTo>
                    <a:cubicBezTo>
                      <a:pt x="5088878" y="1734356"/>
                      <a:pt x="5101048" y="1744890"/>
                      <a:pt x="5114925" y="1752600"/>
                    </a:cubicBezTo>
                    <a:cubicBezTo>
                      <a:pt x="5129871" y="1760903"/>
                      <a:pt x="5147988" y="1762689"/>
                      <a:pt x="5162550" y="1771650"/>
                    </a:cubicBezTo>
                    <a:cubicBezTo>
                      <a:pt x="5286984" y="1848225"/>
                      <a:pt x="5195916" y="1814522"/>
                      <a:pt x="5267325" y="1838325"/>
                    </a:cubicBezTo>
                    <a:cubicBezTo>
                      <a:pt x="5280025" y="1847850"/>
                      <a:pt x="5291548" y="1859190"/>
                      <a:pt x="5305425" y="1866900"/>
                    </a:cubicBezTo>
                    <a:cubicBezTo>
                      <a:pt x="5320371" y="1875203"/>
                      <a:pt x="5337426" y="1879006"/>
                      <a:pt x="5353050" y="1885950"/>
                    </a:cubicBezTo>
                    <a:cubicBezTo>
                      <a:pt x="5366025" y="1891717"/>
                      <a:pt x="5378099" y="1899407"/>
                      <a:pt x="5391150" y="1905000"/>
                    </a:cubicBezTo>
                    <a:cubicBezTo>
                      <a:pt x="5400378" y="1908955"/>
                      <a:pt x="5410550" y="1910447"/>
                      <a:pt x="5419725" y="1914525"/>
                    </a:cubicBezTo>
                    <a:cubicBezTo>
                      <a:pt x="5439188" y="1923175"/>
                      <a:pt x="5457100" y="1935190"/>
                      <a:pt x="5476875" y="1943100"/>
                    </a:cubicBezTo>
                    <a:cubicBezTo>
                      <a:pt x="5489030" y="1947962"/>
                      <a:pt x="5502820" y="1947763"/>
                      <a:pt x="5514975" y="1952625"/>
                    </a:cubicBezTo>
                    <a:cubicBezTo>
                      <a:pt x="5534750" y="1960535"/>
                      <a:pt x="5552109" y="1973921"/>
                      <a:pt x="5572125" y="1981200"/>
                    </a:cubicBezTo>
                    <a:cubicBezTo>
                      <a:pt x="5587340" y="1986733"/>
                      <a:pt x="5603946" y="1987213"/>
                      <a:pt x="5619750" y="1990725"/>
                    </a:cubicBezTo>
                    <a:cubicBezTo>
                      <a:pt x="5632529" y="1993565"/>
                      <a:pt x="5645593" y="1995653"/>
                      <a:pt x="5657850" y="2000250"/>
                    </a:cubicBezTo>
                    <a:cubicBezTo>
                      <a:pt x="5671145" y="2005236"/>
                      <a:pt x="5682767" y="2014027"/>
                      <a:pt x="5695950" y="2019300"/>
                    </a:cubicBezTo>
                    <a:cubicBezTo>
                      <a:pt x="5714594" y="2026758"/>
                      <a:pt x="5736392" y="2027211"/>
                      <a:pt x="5753100" y="2038350"/>
                    </a:cubicBezTo>
                    <a:cubicBezTo>
                      <a:pt x="5762625" y="2044700"/>
                      <a:pt x="5771736" y="2051720"/>
                      <a:pt x="5781675" y="2057400"/>
                    </a:cubicBezTo>
                    <a:cubicBezTo>
                      <a:pt x="5799106" y="2067361"/>
                      <a:pt x="5832879" y="2080029"/>
                      <a:pt x="5848350" y="2095500"/>
                    </a:cubicBezTo>
                    <a:cubicBezTo>
                      <a:pt x="5859575" y="2106725"/>
                      <a:pt x="5865060" y="2123053"/>
                      <a:pt x="5876925" y="2133600"/>
                    </a:cubicBezTo>
                    <a:cubicBezTo>
                      <a:pt x="5927615" y="2178658"/>
                      <a:pt x="5930495" y="2171103"/>
                      <a:pt x="5991225" y="2181225"/>
                    </a:cubicBezTo>
                    <a:cubicBezTo>
                      <a:pt x="6010275" y="2190750"/>
                      <a:pt x="6029757" y="2199457"/>
                      <a:pt x="6048375" y="2209800"/>
                    </a:cubicBezTo>
                    <a:cubicBezTo>
                      <a:pt x="6068578" y="2221024"/>
                      <a:pt x="6097719" y="2245046"/>
                      <a:pt x="6115050" y="2257425"/>
                    </a:cubicBezTo>
                    <a:cubicBezTo>
                      <a:pt x="6124365" y="2264079"/>
                      <a:pt x="6133103" y="2271966"/>
                      <a:pt x="6143625" y="2276475"/>
                    </a:cubicBezTo>
                    <a:cubicBezTo>
                      <a:pt x="6155657" y="2281632"/>
                      <a:pt x="6169025" y="2282825"/>
                      <a:pt x="6181725" y="2286000"/>
                    </a:cubicBezTo>
                    <a:cubicBezTo>
                      <a:pt x="6194425" y="2295525"/>
                      <a:pt x="6205626" y="2307475"/>
                      <a:pt x="6219825" y="2314575"/>
                    </a:cubicBezTo>
                    <a:cubicBezTo>
                      <a:pt x="6231534" y="2320429"/>
                      <a:pt x="6245668" y="2319503"/>
                      <a:pt x="6257925" y="2324100"/>
                    </a:cubicBezTo>
                    <a:cubicBezTo>
                      <a:pt x="6271220" y="2329086"/>
                      <a:pt x="6283050" y="2337383"/>
                      <a:pt x="6296025" y="2343150"/>
                    </a:cubicBezTo>
                    <a:cubicBezTo>
                      <a:pt x="6311649" y="2350094"/>
                      <a:pt x="6327641" y="2356197"/>
                      <a:pt x="6343650" y="2362200"/>
                    </a:cubicBezTo>
                    <a:cubicBezTo>
                      <a:pt x="6353051" y="2365725"/>
                      <a:pt x="6363245" y="2367235"/>
                      <a:pt x="6372225" y="2371725"/>
                    </a:cubicBezTo>
                    <a:cubicBezTo>
                      <a:pt x="6388784" y="2380004"/>
                      <a:pt x="6402932" y="2392781"/>
                      <a:pt x="6419850" y="2400300"/>
                    </a:cubicBezTo>
                    <a:cubicBezTo>
                      <a:pt x="6430856" y="2405191"/>
                      <a:pt x="6498044" y="2417844"/>
                      <a:pt x="6505575" y="2419350"/>
                    </a:cubicBezTo>
                    <a:cubicBezTo>
                      <a:pt x="6573481" y="2453303"/>
                      <a:pt x="6514241" y="2428703"/>
                      <a:pt x="6610350" y="2447925"/>
                    </a:cubicBezTo>
                    <a:cubicBezTo>
                      <a:pt x="6715964" y="2469048"/>
                      <a:pt x="6555115" y="2442785"/>
                      <a:pt x="6667500" y="2476500"/>
                    </a:cubicBezTo>
                    <a:cubicBezTo>
                      <a:pt x="6689004" y="2482951"/>
                      <a:pt x="6711985" y="2482611"/>
                      <a:pt x="6734175" y="2486025"/>
                    </a:cubicBezTo>
                    <a:cubicBezTo>
                      <a:pt x="6753263" y="2488962"/>
                      <a:pt x="6772387" y="2491762"/>
                      <a:pt x="6791325" y="2495550"/>
                    </a:cubicBezTo>
                    <a:cubicBezTo>
                      <a:pt x="6820029" y="2501291"/>
                      <a:pt x="6848346" y="2508859"/>
                      <a:pt x="6877050" y="2514600"/>
                    </a:cubicBezTo>
                    <a:cubicBezTo>
                      <a:pt x="6936133" y="2526417"/>
                      <a:pt x="6963791" y="2527084"/>
                      <a:pt x="7029450" y="2533650"/>
                    </a:cubicBezTo>
                    <a:cubicBezTo>
                      <a:pt x="7054850" y="2540000"/>
                      <a:pt x="7080812" y="2544421"/>
                      <a:pt x="7105650" y="2552700"/>
                    </a:cubicBezTo>
                    <a:cubicBezTo>
                      <a:pt x="7115175" y="2555875"/>
                      <a:pt x="7124571" y="2559467"/>
                      <a:pt x="7134225" y="2562225"/>
                    </a:cubicBezTo>
                    <a:cubicBezTo>
                      <a:pt x="7165612" y="2571193"/>
                      <a:pt x="7187214" y="2574728"/>
                      <a:pt x="7219950" y="2581275"/>
                    </a:cubicBezTo>
                    <a:cubicBezTo>
                      <a:pt x="7229475" y="2587625"/>
                      <a:pt x="7238286" y="2595205"/>
                      <a:pt x="7248525" y="2600325"/>
                    </a:cubicBezTo>
                    <a:cubicBezTo>
                      <a:pt x="7271552" y="2611839"/>
                      <a:pt x="7290785" y="2610220"/>
                      <a:pt x="7315200" y="2619375"/>
                    </a:cubicBezTo>
                    <a:cubicBezTo>
                      <a:pt x="7405338" y="2653177"/>
                      <a:pt x="7296555" y="2627076"/>
                      <a:pt x="7400925" y="2647950"/>
                    </a:cubicBezTo>
                    <a:cubicBezTo>
                      <a:pt x="7460112" y="2677543"/>
                      <a:pt x="7416604" y="2659233"/>
                      <a:pt x="7477125" y="2676525"/>
                    </a:cubicBezTo>
                    <a:cubicBezTo>
                      <a:pt x="7513977" y="2687054"/>
                      <a:pt x="7493995" y="2686050"/>
                      <a:pt x="7515225" y="2686050"/>
                    </a:cubicBezTo>
                  </a:path>
                </a:pathLst>
              </a:custGeom>
              <a:noFill/>
              <a:ln w="381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7286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</a:endParaRPr>
              </a:p>
            </p:txBody>
          </p:sp>
          <p:sp>
            <p:nvSpPr>
              <p:cNvPr id="18" name="Oval 17"/>
              <p:cNvSpPr/>
              <p:nvPr/>
            </p:nvSpPr>
            <p:spPr bwMode="auto">
              <a:xfrm>
                <a:off x="9658887" y="4408150"/>
                <a:ext cx="207209" cy="212960"/>
              </a:xfrm>
              <a:prstGeom prst="ellipse">
                <a:avLst/>
              </a:prstGeom>
              <a:solidFill>
                <a:schemeClr val="bg1"/>
              </a:solidFill>
              <a:ln w="3175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7286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</a:endParaRPr>
              </a:p>
            </p:txBody>
          </p:sp>
          <p:cxnSp>
            <p:nvCxnSpPr>
              <p:cNvPr id="19" name="Straight Connector 18"/>
              <p:cNvCxnSpPr/>
              <p:nvPr/>
            </p:nvCxnSpPr>
            <p:spPr bwMode="auto">
              <a:xfrm>
                <a:off x="1881645" y="1345449"/>
                <a:ext cx="0" cy="4123111"/>
              </a:xfrm>
              <a:prstGeom prst="line">
                <a:avLst/>
              </a:prstGeom>
              <a:solidFill>
                <a:schemeClr val="accent1"/>
              </a:solidFill>
              <a:ln w="381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0" name="Straight Connector 19"/>
              <p:cNvCxnSpPr/>
              <p:nvPr/>
            </p:nvCxnSpPr>
            <p:spPr bwMode="auto">
              <a:xfrm flipV="1">
                <a:off x="1860335" y="5468560"/>
                <a:ext cx="9046239" cy="17807"/>
              </a:xfrm>
              <a:prstGeom prst="line">
                <a:avLst/>
              </a:prstGeom>
              <a:solidFill>
                <a:schemeClr val="accent1"/>
              </a:solidFill>
              <a:ln w="381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grpSp>
            <p:nvGrpSpPr>
              <p:cNvPr id="21" name="Group 20"/>
              <p:cNvGrpSpPr/>
              <p:nvPr/>
            </p:nvGrpSpPr>
            <p:grpSpPr>
              <a:xfrm>
                <a:off x="2530643" y="5347935"/>
                <a:ext cx="7304789" cy="218873"/>
                <a:chOff x="2122618" y="3878486"/>
                <a:chExt cx="5742519" cy="136026"/>
              </a:xfrm>
            </p:grpSpPr>
            <p:grpSp>
              <p:nvGrpSpPr>
                <p:cNvPr id="60" name="Group 59"/>
                <p:cNvGrpSpPr/>
                <p:nvPr/>
              </p:nvGrpSpPr>
              <p:grpSpPr>
                <a:xfrm>
                  <a:off x="2122618" y="3878486"/>
                  <a:ext cx="1104263" cy="136026"/>
                  <a:chOff x="1751136" y="3891868"/>
                  <a:chExt cx="357961" cy="136026"/>
                </a:xfrm>
              </p:grpSpPr>
              <p:grpSp>
                <p:nvGrpSpPr>
                  <p:cNvPr id="165" name="Group 164"/>
                  <p:cNvGrpSpPr/>
                  <p:nvPr/>
                </p:nvGrpSpPr>
                <p:grpSpPr>
                  <a:xfrm>
                    <a:off x="1751136" y="3891868"/>
                    <a:ext cx="176673" cy="136026"/>
                    <a:chOff x="1751136" y="3891868"/>
                    <a:chExt cx="176673" cy="136026"/>
                  </a:xfrm>
                </p:grpSpPr>
                <p:cxnSp>
                  <p:nvCxnSpPr>
                    <p:cNvPr id="167" name="Straight Connector 166"/>
                    <p:cNvCxnSpPr/>
                    <p:nvPr/>
                  </p:nvCxnSpPr>
                  <p:spPr bwMode="auto">
                    <a:xfrm>
                      <a:off x="1751136" y="3891868"/>
                      <a:ext cx="0" cy="136026"/>
                    </a:xfrm>
                    <a:prstGeom prst="line">
                      <a:avLst/>
                    </a:prstGeom>
                    <a:solidFill>
                      <a:schemeClr val="accent1"/>
                    </a:solidFill>
                    <a:ln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</p:cxnSp>
                <p:cxnSp>
                  <p:nvCxnSpPr>
                    <p:cNvPr id="168" name="Straight Connector 167"/>
                    <p:cNvCxnSpPr/>
                    <p:nvPr/>
                  </p:nvCxnSpPr>
                  <p:spPr bwMode="auto">
                    <a:xfrm>
                      <a:off x="1927809" y="3891868"/>
                      <a:ext cx="0" cy="136026"/>
                    </a:xfrm>
                    <a:prstGeom prst="line">
                      <a:avLst/>
                    </a:prstGeom>
                    <a:solidFill>
                      <a:schemeClr val="accent1"/>
                    </a:solidFill>
                    <a:ln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</p:cxnSp>
              </p:grpSp>
              <p:cxnSp>
                <p:nvCxnSpPr>
                  <p:cNvPr id="166" name="Straight Connector 165"/>
                  <p:cNvCxnSpPr/>
                  <p:nvPr/>
                </p:nvCxnSpPr>
                <p:spPr bwMode="auto">
                  <a:xfrm>
                    <a:off x="2109097" y="3891868"/>
                    <a:ext cx="0" cy="136026"/>
                  </a:xfrm>
                  <a:prstGeom prst="line">
                    <a:avLst/>
                  </a:prstGeom>
                  <a:solidFill>
                    <a:schemeClr val="accent1"/>
                  </a:solidFill>
                  <a:ln w="19050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</p:grpSp>
            <p:grpSp>
              <p:nvGrpSpPr>
                <p:cNvPr id="61" name="Group 60"/>
                <p:cNvGrpSpPr/>
                <p:nvPr/>
              </p:nvGrpSpPr>
              <p:grpSpPr>
                <a:xfrm>
                  <a:off x="3518558" y="3878486"/>
                  <a:ext cx="4346579" cy="136026"/>
                  <a:chOff x="3518558" y="3878486"/>
                  <a:chExt cx="4346579" cy="136026"/>
                </a:xfrm>
              </p:grpSpPr>
              <p:grpSp>
                <p:nvGrpSpPr>
                  <p:cNvPr id="62" name="Group 61"/>
                  <p:cNvGrpSpPr/>
                  <p:nvPr/>
                </p:nvGrpSpPr>
                <p:grpSpPr>
                  <a:xfrm>
                    <a:off x="3518558" y="3878486"/>
                    <a:ext cx="2737005" cy="136026"/>
                    <a:chOff x="3567794" y="3878486"/>
                    <a:chExt cx="3736754" cy="136026"/>
                  </a:xfrm>
                </p:grpSpPr>
                <p:grpSp>
                  <p:nvGrpSpPr>
                    <p:cNvPr id="118" name="Group 117"/>
                    <p:cNvGrpSpPr/>
                    <p:nvPr/>
                  </p:nvGrpSpPr>
                  <p:grpSpPr>
                    <a:xfrm>
                      <a:off x="3567794" y="3878486"/>
                      <a:ext cx="1672100" cy="136026"/>
                      <a:chOff x="3567794" y="3878486"/>
                      <a:chExt cx="1672100" cy="136026"/>
                    </a:xfrm>
                  </p:grpSpPr>
                  <p:grpSp>
                    <p:nvGrpSpPr>
                      <p:cNvPr id="149" name="Group 148"/>
                      <p:cNvGrpSpPr/>
                      <p:nvPr/>
                    </p:nvGrpSpPr>
                    <p:grpSpPr>
                      <a:xfrm>
                        <a:off x="3567794" y="3878486"/>
                        <a:ext cx="301072" cy="136026"/>
                        <a:chOff x="3567794" y="3878486"/>
                        <a:chExt cx="301072" cy="136026"/>
                      </a:xfrm>
                    </p:grpSpPr>
                    <p:cxnSp>
                      <p:nvCxnSpPr>
                        <p:cNvPr id="163" name="Straight Connector 162"/>
                        <p:cNvCxnSpPr/>
                        <p:nvPr/>
                      </p:nvCxnSpPr>
                      <p:spPr bwMode="auto">
                        <a:xfrm>
                          <a:off x="386886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64" name="Straight Connector 163"/>
                        <p:cNvCxnSpPr/>
                        <p:nvPr/>
                      </p:nvCxnSpPr>
                      <p:spPr bwMode="auto">
                        <a:xfrm>
                          <a:off x="356779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</p:grpSp>
                  <p:grpSp>
                    <p:nvGrpSpPr>
                      <p:cNvPr id="150" name="Group 149"/>
                      <p:cNvGrpSpPr/>
                      <p:nvPr/>
                    </p:nvGrpSpPr>
                    <p:grpSpPr>
                      <a:xfrm>
                        <a:off x="4043548" y="3878486"/>
                        <a:ext cx="511112" cy="136026"/>
                        <a:chOff x="3357754" y="3878486"/>
                        <a:chExt cx="511112" cy="136026"/>
                      </a:xfrm>
                    </p:grpSpPr>
                    <p:cxnSp>
                      <p:nvCxnSpPr>
                        <p:cNvPr id="159" name="Straight Connector 158"/>
                        <p:cNvCxnSpPr/>
                        <p:nvPr/>
                      </p:nvCxnSpPr>
                      <p:spPr bwMode="auto">
                        <a:xfrm>
                          <a:off x="386886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60" name="Straight Connector 159"/>
                        <p:cNvCxnSpPr/>
                        <p:nvPr/>
                      </p:nvCxnSpPr>
                      <p:spPr bwMode="auto">
                        <a:xfrm>
                          <a:off x="370932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61" name="Straight Connector 160"/>
                        <p:cNvCxnSpPr/>
                        <p:nvPr/>
                      </p:nvCxnSpPr>
                      <p:spPr bwMode="auto">
                        <a:xfrm>
                          <a:off x="3528782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62" name="Straight Connector 161"/>
                        <p:cNvCxnSpPr/>
                        <p:nvPr/>
                      </p:nvCxnSpPr>
                      <p:spPr bwMode="auto">
                        <a:xfrm>
                          <a:off x="335775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</p:grpSp>
                  <p:grpSp>
                    <p:nvGrpSpPr>
                      <p:cNvPr id="151" name="Group 150"/>
                      <p:cNvGrpSpPr/>
                      <p:nvPr/>
                    </p:nvGrpSpPr>
                    <p:grpSpPr>
                      <a:xfrm>
                        <a:off x="4694102" y="3878486"/>
                        <a:ext cx="545792" cy="136026"/>
                        <a:chOff x="3340414" y="3878486"/>
                        <a:chExt cx="545792" cy="136026"/>
                      </a:xfrm>
                    </p:grpSpPr>
                    <p:cxnSp>
                      <p:nvCxnSpPr>
                        <p:cNvPr id="152" name="Straight Connector 151"/>
                        <p:cNvCxnSpPr/>
                        <p:nvPr/>
                      </p:nvCxnSpPr>
                      <p:spPr bwMode="auto">
                        <a:xfrm>
                          <a:off x="388620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53" name="Straight Connector 152"/>
                        <p:cNvCxnSpPr/>
                        <p:nvPr/>
                      </p:nvCxnSpPr>
                      <p:spPr bwMode="auto">
                        <a:xfrm>
                          <a:off x="3726663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54" name="Straight Connector 153"/>
                        <p:cNvCxnSpPr/>
                        <p:nvPr/>
                      </p:nvCxnSpPr>
                      <p:spPr bwMode="auto">
                        <a:xfrm>
                          <a:off x="3550455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55" name="Straight Connector 154"/>
                        <p:cNvCxnSpPr/>
                        <p:nvPr/>
                      </p:nvCxnSpPr>
                      <p:spPr bwMode="auto">
                        <a:xfrm>
                          <a:off x="334041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56" name="Straight Connector 155"/>
                        <p:cNvCxnSpPr/>
                        <p:nvPr/>
                      </p:nvCxnSpPr>
                      <p:spPr bwMode="auto">
                        <a:xfrm>
                          <a:off x="345075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57" name="Straight Connector 156"/>
                        <p:cNvCxnSpPr/>
                        <p:nvPr/>
                      </p:nvCxnSpPr>
                      <p:spPr bwMode="auto">
                        <a:xfrm>
                          <a:off x="3648637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58" name="Straight Connector 157"/>
                        <p:cNvCxnSpPr/>
                        <p:nvPr/>
                      </p:nvCxnSpPr>
                      <p:spPr bwMode="auto">
                        <a:xfrm>
                          <a:off x="3801330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</p:grpSp>
                </p:grpSp>
                <p:grpSp>
                  <p:nvGrpSpPr>
                    <p:cNvPr id="119" name="Group 118"/>
                    <p:cNvGrpSpPr/>
                    <p:nvPr/>
                  </p:nvGrpSpPr>
                  <p:grpSpPr>
                    <a:xfrm>
                      <a:off x="5322648" y="3878486"/>
                      <a:ext cx="1981900" cy="136026"/>
                      <a:chOff x="3296998" y="3878486"/>
                      <a:chExt cx="1981900" cy="136026"/>
                    </a:xfrm>
                  </p:grpSpPr>
                  <p:grpSp>
                    <p:nvGrpSpPr>
                      <p:cNvPr id="120" name="Group 119"/>
                      <p:cNvGrpSpPr/>
                      <p:nvPr/>
                    </p:nvGrpSpPr>
                    <p:grpSpPr>
                      <a:xfrm>
                        <a:off x="3296998" y="3878486"/>
                        <a:ext cx="671568" cy="136026"/>
                        <a:chOff x="3296998" y="3878486"/>
                        <a:chExt cx="671568" cy="136026"/>
                      </a:xfrm>
                    </p:grpSpPr>
                    <p:cxnSp>
                      <p:nvCxnSpPr>
                        <p:cNvPr id="140" name="Straight Connector 139"/>
                        <p:cNvCxnSpPr/>
                        <p:nvPr/>
                      </p:nvCxnSpPr>
                      <p:spPr bwMode="auto">
                        <a:xfrm>
                          <a:off x="388620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41" name="Straight Connector 140"/>
                        <p:cNvCxnSpPr/>
                        <p:nvPr/>
                      </p:nvCxnSpPr>
                      <p:spPr bwMode="auto">
                        <a:xfrm>
                          <a:off x="3726663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42" name="Straight Connector 141"/>
                        <p:cNvCxnSpPr/>
                        <p:nvPr/>
                      </p:nvCxnSpPr>
                      <p:spPr bwMode="auto">
                        <a:xfrm>
                          <a:off x="3550455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43" name="Straight Connector 142"/>
                        <p:cNvCxnSpPr/>
                        <p:nvPr/>
                      </p:nvCxnSpPr>
                      <p:spPr bwMode="auto">
                        <a:xfrm>
                          <a:off x="338376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44" name="Straight Connector 143"/>
                        <p:cNvCxnSpPr/>
                        <p:nvPr/>
                      </p:nvCxnSpPr>
                      <p:spPr bwMode="auto">
                        <a:xfrm>
                          <a:off x="3296998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45" name="Straight Connector 144"/>
                        <p:cNvCxnSpPr/>
                        <p:nvPr/>
                      </p:nvCxnSpPr>
                      <p:spPr bwMode="auto">
                        <a:xfrm>
                          <a:off x="396856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46" name="Straight Connector 145"/>
                        <p:cNvCxnSpPr/>
                        <p:nvPr/>
                      </p:nvCxnSpPr>
                      <p:spPr bwMode="auto">
                        <a:xfrm>
                          <a:off x="3809023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47" name="Straight Connector 146"/>
                        <p:cNvCxnSpPr/>
                        <p:nvPr/>
                      </p:nvCxnSpPr>
                      <p:spPr bwMode="auto">
                        <a:xfrm>
                          <a:off x="3632815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48" name="Straight Connector 147"/>
                        <p:cNvCxnSpPr/>
                        <p:nvPr/>
                      </p:nvCxnSpPr>
                      <p:spPr bwMode="auto">
                        <a:xfrm>
                          <a:off x="346809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</p:grpSp>
                  <p:grpSp>
                    <p:nvGrpSpPr>
                      <p:cNvPr id="121" name="Group 120"/>
                      <p:cNvGrpSpPr/>
                      <p:nvPr/>
                    </p:nvGrpSpPr>
                    <p:grpSpPr>
                      <a:xfrm>
                        <a:off x="4069558" y="3878486"/>
                        <a:ext cx="1011534" cy="136026"/>
                        <a:chOff x="3383764" y="3878486"/>
                        <a:chExt cx="1011534" cy="136026"/>
                      </a:xfrm>
                    </p:grpSpPr>
                    <p:cxnSp>
                      <p:nvCxnSpPr>
                        <p:cNvPr id="129" name="Straight Connector 128"/>
                        <p:cNvCxnSpPr/>
                        <p:nvPr/>
                      </p:nvCxnSpPr>
                      <p:spPr bwMode="auto">
                        <a:xfrm>
                          <a:off x="388620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30" name="Straight Connector 129"/>
                        <p:cNvCxnSpPr/>
                        <p:nvPr/>
                      </p:nvCxnSpPr>
                      <p:spPr bwMode="auto">
                        <a:xfrm>
                          <a:off x="3726663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31" name="Straight Connector 130"/>
                        <p:cNvCxnSpPr/>
                        <p:nvPr/>
                      </p:nvCxnSpPr>
                      <p:spPr bwMode="auto">
                        <a:xfrm>
                          <a:off x="3550455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32" name="Straight Connector 131"/>
                        <p:cNvCxnSpPr/>
                        <p:nvPr/>
                      </p:nvCxnSpPr>
                      <p:spPr bwMode="auto">
                        <a:xfrm>
                          <a:off x="338376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33" name="Straight Connector 132"/>
                        <p:cNvCxnSpPr/>
                        <p:nvPr/>
                      </p:nvCxnSpPr>
                      <p:spPr bwMode="auto">
                        <a:xfrm>
                          <a:off x="412979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34" name="Straight Connector 133"/>
                        <p:cNvCxnSpPr/>
                        <p:nvPr/>
                      </p:nvCxnSpPr>
                      <p:spPr bwMode="auto">
                        <a:xfrm>
                          <a:off x="4260925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35" name="Straight Connector 134"/>
                        <p:cNvCxnSpPr/>
                        <p:nvPr/>
                      </p:nvCxnSpPr>
                      <p:spPr bwMode="auto">
                        <a:xfrm>
                          <a:off x="4395298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36" name="Straight Connector 135"/>
                        <p:cNvCxnSpPr/>
                        <p:nvPr/>
                      </p:nvCxnSpPr>
                      <p:spPr bwMode="auto">
                        <a:xfrm>
                          <a:off x="397454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37" name="Straight Connector 136"/>
                        <p:cNvCxnSpPr/>
                        <p:nvPr/>
                      </p:nvCxnSpPr>
                      <p:spPr bwMode="auto">
                        <a:xfrm>
                          <a:off x="381251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38" name="Straight Connector 137"/>
                        <p:cNvCxnSpPr/>
                        <p:nvPr/>
                      </p:nvCxnSpPr>
                      <p:spPr bwMode="auto">
                        <a:xfrm>
                          <a:off x="3632815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39" name="Straight Connector 138"/>
                        <p:cNvCxnSpPr/>
                        <p:nvPr/>
                      </p:nvCxnSpPr>
                      <p:spPr bwMode="auto">
                        <a:xfrm>
                          <a:off x="346612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</p:grpSp>
                  <p:grpSp>
                    <p:nvGrpSpPr>
                      <p:cNvPr id="122" name="Group 121"/>
                      <p:cNvGrpSpPr/>
                      <p:nvPr/>
                    </p:nvGrpSpPr>
                    <p:grpSpPr>
                      <a:xfrm>
                        <a:off x="4737452" y="3878486"/>
                        <a:ext cx="541446" cy="136026"/>
                        <a:chOff x="3383764" y="3878486"/>
                        <a:chExt cx="541446" cy="136026"/>
                      </a:xfrm>
                    </p:grpSpPr>
                    <p:cxnSp>
                      <p:nvCxnSpPr>
                        <p:cNvPr id="123" name="Straight Connector 122"/>
                        <p:cNvCxnSpPr/>
                        <p:nvPr/>
                      </p:nvCxnSpPr>
                      <p:spPr bwMode="auto">
                        <a:xfrm>
                          <a:off x="3798429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24" name="Straight Connector 123"/>
                        <p:cNvCxnSpPr/>
                        <p:nvPr/>
                      </p:nvCxnSpPr>
                      <p:spPr bwMode="auto">
                        <a:xfrm>
                          <a:off x="3661648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25" name="Straight Connector 124"/>
                        <p:cNvCxnSpPr/>
                        <p:nvPr/>
                      </p:nvCxnSpPr>
                      <p:spPr bwMode="auto">
                        <a:xfrm>
                          <a:off x="3527700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26" name="Straight Connector 125"/>
                        <p:cNvCxnSpPr/>
                        <p:nvPr/>
                      </p:nvCxnSpPr>
                      <p:spPr bwMode="auto">
                        <a:xfrm>
                          <a:off x="338376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27" name="Straight Connector 126"/>
                        <p:cNvCxnSpPr/>
                        <p:nvPr/>
                      </p:nvCxnSpPr>
                      <p:spPr bwMode="auto">
                        <a:xfrm>
                          <a:off x="386994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28" name="Straight Connector 127"/>
                        <p:cNvCxnSpPr/>
                        <p:nvPr/>
                      </p:nvCxnSpPr>
                      <p:spPr bwMode="auto">
                        <a:xfrm>
                          <a:off x="3925210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</p:grpSp>
                </p:grpSp>
              </p:grpSp>
              <p:grpSp>
                <p:nvGrpSpPr>
                  <p:cNvPr id="63" name="Group 62"/>
                  <p:cNvGrpSpPr/>
                  <p:nvPr/>
                </p:nvGrpSpPr>
                <p:grpSpPr>
                  <a:xfrm>
                    <a:off x="6300551" y="3878486"/>
                    <a:ext cx="917635" cy="136026"/>
                    <a:chOff x="3383764" y="3878486"/>
                    <a:chExt cx="3881780" cy="136026"/>
                  </a:xfrm>
                </p:grpSpPr>
                <p:grpSp>
                  <p:nvGrpSpPr>
                    <p:cNvPr id="86" name="Group 85"/>
                    <p:cNvGrpSpPr/>
                    <p:nvPr/>
                  </p:nvGrpSpPr>
                  <p:grpSpPr>
                    <a:xfrm>
                      <a:off x="3383764" y="3878486"/>
                      <a:ext cx="1856130" cy="136026"/>
                      <a:chOff x="3383764" y="3878486"/>
                      <a:chExt cx="1856130" cy="136026"/>
                    </a:xfrm>
                  </p:grpSpPr>
                  <p:grpSp>
                    <p:nvGrpSpPr>
                      <p:cNvPr id="103" name="Group 102"/>
                      <p:cNvGrpSpPr/>
                      <p:nvPr/>
                    </p:nvGrpSpPr>
                    <p:grpSpPr>
                      <a:xfrm>
                        <a:off x="3383764" y="3878486"/>
                        <a:ext cx="502442" cy="136026"/>
                        <a:chOff x="3383764" y="3878486"/>
                        <a:chExt cx="502442" cy="136026"/>
                      </a:xfrm>
                    </p:grpSpPr>
                    <p:cxnSp>
                      <p:nvCxnSpPr>
                        <p:cNvPr id="114" name="Straight Connector 113"/>
                        <p:cNvCxnSpPr/>
                        <p:nvPr/>
                      </p:nvCxnSpPr>
                      <p:spPr bwMode="auto">
                        <a:xfrm>
                          <a:off x="388620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15" name="Straight Connector 114"/>
                        <p:cNvCxnSpPr/>
                        <p:nvPr/>
                      </p:nvCxnSpPr>
                      <p:spPr bwMode="auto">
                        <a:xfrm>
                          <a:off x="3726663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16" name="Straight Connector 115"/>
                        <p:cNvCxnSpPr/>
                        <p:nvPr/>
                      </p:nvCxnSpPr>
                      <p:spPr bwMode="auto">
                        <a:xfrm>
                          <a:off x="3550455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17" name="Straight Connector 116"/>
                        <p:cNvCxnSpPr/>
                        <p:nvPr/>
                      </p:nvCxnSpPr>
                      <p:spPr bwMode="auto">
                        <a:xfrm>
                          <a:off x="338376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</p:grpSp>
                  <p:grpSp>
                    <p:nvGrpSpPr>
                      <p:cNvPr id="104" name="Group 103"/>
                      <p:cNvGrpSpPr/>
                      <p:nvPr/>
                    </p:nvGrpSpPr>
                    <p:grpSpPr>
                      <a:xfrm>
                        <a:off x="4069558" y="3878486"/>
                        <a:ext cx="502442" cy="136026"/>
                        <a:chOff x="3383764" y="3878486"/>
                        <a:chExt cx="502442" cy="136026"/>
                      </a:xfrm>
                    </p:grpSpPr>
                    <p:cxnSp>
                      <p:nvCxnSpPr>
                        <p:cNvPr id="110" name="Straight Connector 109"/>
                        <p:cNvCxnSpPr/>
                        <p:nvPr/>
                      </p:nvCxnSpPr>
                      <p:spPr bwMode="auto">
                        <a:xfrm>
                          <a:off x="388620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11" name="Straight Connector 110"/>
                        <p:cNvCxnSpPr/>
                        <p:nvPr/>
                      </p:nvCxnSpPr>
                      <p:spPr bwMode="auto">
                        <a:xfrm>
                          <a:off x="3726663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12" name="Straight Connector 111"/>
                        <p:cNvCxnSpPr/>
                        <p:nvPr/>
                      </p:nvCxnSpPr>
                      <p:spPr bwMode="auto">
                        <a:xfrm>
                          <a:off x="3550455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13" name="Straight Connector 112"/>
                        <p:cNvCxnSpPr/>
                        <p:nvPr/>
                      </p:nvCxnSpPr>
                      <p:spPr bwMode="auto">
                        <a:xfrm>
                          <a:off x="338376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</p:grpSp>
                  <p:grpSp>
                    <p:nvGrpSpPr>
                      <p:cNvPr id="105" name="Group 104"/>
                      <p:cNvGrpSpPr/>
                      <p:nvPr/>
                    </p:nvGrpSpPr>
                    <p:grpSpPr>
                      <a:xfrm>
                        <a:off x="4737452" y="3878486"/>
                        <a:ext cx="502442" cy="136026"/>
                        <a:chOff x="3383764" y="3878486"/>
                        <a:chExt cx="502442" cy="136026"/>
                      </a:xfrm>
                    </p:grpSpPr>
                    <p:cxnSp>
                      <p:nvCxnSpPr>
                        <p:cNvPr id="106" name="Straight Connector 105"/>
                        <p:cNvCxnSpPr/>
                        <p:nvPr/>
                      </p:nvCxnSpPr>
                      <p:spPr bwMode="auto">
                        <a:xfrm>
                          <a:off x="388620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07" name="Straight Connector 106"/>
                        <p:cNvCxnSpPr/>
                        <p:nvPr/>
                      </p:nvCxnSpPr>
                      <p:spPr bwMode="auto">
                        <a:xfrm>
                          <a:off x="3726663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08" name="Straight Connector 107"/>
                        <p:cNvCxnSpPr/>
                        <p:nvPr/>
                      </p:nvCxnSpPr>
                      <p:spPr bwMode="auto">
                        <a:xfrm>
                          <a:off x="3550455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09" name="Straight Connector 108"/>
                        <p:cNvCxnSpPr/>
                        <p:nvPr/>
                      </p:nvCxnSpPr>
                      <p:spPr bwMode="auto">
                        <a:xfrm>
                          <a:off x="338376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</p:grpSp>
                </p:grpSp>
                <p:grpSp>
                  <p:nvGrpSpPr>
                    <p:cNvPr id="87" name="Group 86"/>
                    <p:cNvGrpSpPr/>
                    <p:nvPr/>
                  </p:nvGrpSpPr>
                  <p:grpSpPr>
                    <a:xfrm>
                      <a:off x="5409414" y="3878486"/>
                      <a:ext cx="1856130" cy="136026"/>
                      <a:chOff x="3383764" y="3878486"/>
                      <a:chExt cx="1856130" cy="136026"/>
                    </a:xfrm>
                  </p:grpSpPr>
                  <p:grpSp>
                    <p:nvGrpSpPr>
                      <p:cNvPr id="88" name="Group 87"/>
                      <p:cNvGrpSpPr/>
                      <p:nvPr/>
                    </p:nvGrpSpPr>
                    <p:grpSpPr>
                      <a:xfrm>
                        <a:off x="3383764" y="3878486"/>
                        <a:ext cx="502442" cy="136026"/>
                        <a:chOff x="3383764" y="3878486"/>
                        <a:chExt cx="502442" cy="136026"/>
                      </a:xfrm>
                    </p:grpSpPr>
                    <p:cxnSp>
                      <p:nvCxnSpPr>
                        <p:cNvPr id="99" name="Straight Connector 98"/>
                        <p:cNvCxnSpPr/>
                        <p:nvPr/>
                      </p:nvCxnSpPr>
                      <p:spPr bwMode="auto">
                        <a:xfrm>
                          <a:off x="388620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00" name="Straight Connector 99"/>
                        <p:cNvCxnSpPr/>
                        <p:nvPr/>
                      </p:nvCxnSpPr>
                      <p:spPr bwMode="auto">
                        <a:xfrm>
                          <a:off x="3726663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01" name="Straight Connector 100"/>
                        <p:cNvCxnSpPr/>
                        <p:nvPr/>
                      </p:nvCxnSpPr>
                      <p:spPr bwMode="auto">
                        <a:xfrm>
                          <a:off x="3550455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02" name="Straight Connector 101"/>
                        <p:cNvCxnSpPr/>
                        <p:nvPr/>
                      </p:nvCxnSpPr>
                      <p:spPr bwMode="auto">
                        <a:xfrm>
                          <a:off x="338376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</p:grpSp>
                  <p:grpSp>
                    <p:nvGrpSpPr>
                      <p:cNvPr id="89" name="Group 88"/>
                      <p:cNvGrpSpPr/>
                      <p:nvPr/>
                    </p:nvGrpSpPr>
                    <p:grpSpPr>
                      <a:xfrm>
                        <a:off x="4069558" y="3878486"/>
                        <a:ext cx="502442" cy="136026"/>
                        <a:chOff x="3383764" y="3878486"/>
                        <a:chExt cx="502442" cy="136026"/>
                      </a:xfrm>
                    </p:grpSpPr>
                    <p:cxnSp>
                      <p:nvCxnSpPr>
                        <p:cNvPr id="95" name="Straight Connector 94"/>
                        <p:cNvCxnSpPr/>
                        <p:nvPr/>
                      </p:nvCxnSpPr>
                      <p:spPr bwMode="auto">
                        <a:xfrm>
                          <a:off x="388620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96" name="Straight Connector 95"/>
                        <p:cNvCxnSpPr/>
                        <p:nvPr/>
                      </p:nvCxnSpPr>
                      <p:spPr bwMode="auto">
                        <a:xfrm>
                          <a:off x="3726663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97" name="Straight Connector 96"/>
                        <p:cNvCxnSpPr/>
                        <p:nvPr/>
                      </p:nvCxnSpPr>
                      <p:spPr bwMode="auto">
                        <a:xfrm>
                          <a:off x="3550455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98" name="Straight Connector 97"/>
                        <p:cNvCxnSpPr/>
                        <p:nvPr/>
                      </p:nvCxnSpPr>
                      <p:spPr bwMode="auto">
                        <a:xfrm>
                          <a:off x="338376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</p:grpSp>
                  <p:grpSp>
                    <p:nvGrpSpPr>
                      <p:cNvPr id="90" name="Group 89"/>
                      <p:cNvGrpSpPr/>
                      <p:nvPr/>
                    </p:nvGrpSpPr>
                    <p:grpSpPr>
                      <a:xfrm>
                        <a:off x="4737452" y="3878486"/>
                        <a:ext cx="502442" cy="136026"/>
                        <a:chOff x="3383764" y="3878486"/>
                        <a:chExt cx="502442" cy="136026"/>
                      </a:xfrm>
                    </p:grpSpPr>
                    <p:cxnSp>
                      <p:nvCxnSpPr>
                        <p:cNvPr id="91" name="Straight Connector 90"/>
                        <p:cNvCxnSpPr/>
                        <p:nvPr/>
                      </p:nvCxnSpPr>
                      <p:spPr bwMode="auto">
                        <a:xfrm>
                          <a:off x="388620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92" name="Straight Connector 91"/>
                        <p:cNvCxnSpPr/>
                        <p:nvPr/>
                      </p:nvCxnSpPr>
                      <p:spPr bwMode="auto">
                        <a:xfrm>
                          <a:off x="3726663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93" name="Straight Connector 92"/>
                        <p:cNvCxnSpPr/>
                        <p:nvPr/>
                      </p:nvCxnSpPr>
                      <p:spPr bwMode="auto">
                        <a:xfrm>
                          <a:off x="3550455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94" name="Straight Connector 93"/>
                        <p:cNvCxnSpPr/>
                        <p:nvPr/>
                      </p:nvCxnSpPr>
                      <p:spPr bwMode="auto">
                        <a:xfrm>
                          <a:off x="338376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</p:grpSp>
                </p:grpSp>
              </p:grpSp>
              <p:grpSp>
                <p:nvGrpSpPr>
                  <p:cNvPr id="64" name="Group 63"/>
                  <p:cNvGrpSpPr/>
                  <p:nvPr/>
                </p:nvGrpSpPr>
                <p:grpSpPr>
                  <a:xfrm>
                    <a:off x="7267508" y="3878486"/>
                    <a:ext cx="597629" cy="136026"/>
                    <a:chOff x="3383764" y="3878486"/>
                    <a:chExt cx="2528092" cy="136026"/>
                  </a:xfrm>
                </p:grpSpPr>
                <p:grpSp>
                  <p:nvGrpSpPr>
                    <p:cNvPr id="65" name="Group 64"/>
                    <p:cNvGrpSpPr/>
                    <p:nvPr/>
                  </p:nvGrpSpPr>
                  <p:grpSpPr>
                    <a:xfrm>
                      <a:off x="3383764" y="3878486"/>
                      <a:ext cx="1856130" cy="136026"/>
                      <a:chOff x="3383764" y="3878486"/>
                      <a:chExt cx="1856130" cy="136026"/>
                    </a:xfrm>
                  </p:grpSpPr>
                  <p:grpSp>
                    <p:nvGrpSpPr>
                      <p:cNvPr id="71" name="Group 70"/>
                      <p:cNvGrpSpPr/>
                      <p:nvPr/>
                    </p:nvGrpSpPr>
                    <p:grpSpPr>
                      <a:xfrm>
                        <a:off x="3383764" y="3878486"/>
                        <a:ext cx="502442" cy="136026"/>
                        <a:chOff x="3383764" y="3878486"/>
                        <a:chExt cx="502442" cy="136026"/>
                      </a:xfrm>
                    </p:grpSpPr>
                    <p:cxnSp>
                      <p:nvCxnSpPr>
                        <p:cNvPr id="82" name="Straight Connector 81"/>
                        <p:cNvCxnSpPr/>
                        <p:nvPr/>
                      </p:nvCxnSpPr>
                      <p:spPr bwMode="auto">
                        <a:xfrm>
                          <a:off x="388620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83" name="Straight Connector 82"/>
                        <p:cNvCxnSpPr/>
                        <p:nvPr/>
                      </p:nvCxnSpPr>
                      <p:spPr bwMode="auto">
                        <a:xfrm>
                          <a:off x="3726663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84" name="Straight Connector 83"/>
                        <p:cNvCxnSpPr/>
                        <p:nvPr/>
                      </p:nvCxnSpPr>
                      <p:spPr bwMode="auto">
                        <a:xfrm>
                          <a:off x="3550455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85" name="Straight Connector 84"/>
                        <p:cNvCxnSpPr/>
                        <p:nvPr/>
                      </p:nvCxnSpPr>
                      <p:spPr bwMode="auto">
                        <a:xfrm>
                          <a:off x="338376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</p:grpSp>
                  <p:grpSp>
                    <p:nvGrpSpPr>
                      <p:cNvPr id="72" name="Group 71"/>
                      <p:cNvGrpSpPr/>
                      <p:nvPr/>
                    </p:nvGrpSpPr>
                    <p:grpSpPr>
                      <a:xfrm>
                        <a:off x="4069558" y="3878486"/>
                        <a:ext cx="502442" cy="136026"/>
                        <a:chOff x="3383764" y="3878486"/>
                        <a:chExt cx="502442" cy="136026"/>
                      </a:xfrm>
                    </p:grpSpPr>
                    <p:cxnSp>
                      <p:nvCxnSpPr>
                        <p:cNvPr id="78" name="Straight Connector 77"/>
                        <p:cNvCxnSpPr/>
                        <p:nvPr/>
                      </p:nvCxnSpPr>
                      <p:spPr bwMode="auto">
                        <a:xfrm>
                          <a:off x="388620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79" name="Straight Connector 78"/>
                        <p:cNvCxnSpPr/>
                        <p:nvPr/>
                      </p:nvCxnSpPr>
                      <p:spPr bwMode="auto">
                        <a:xfrm>
                          <a:off x="3726663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80" name="Straight Connector 79"/>
                        <p:cNvCxnSpPr/>
                        <p:nvPr/>
                      </p:nvCxnSpPr>
                      <p:spPr bwMode="auto">
                        <a:xfrm>
                          <a:off x="3550455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81" name="Straight Connector 80"/>
                        <p:cNvCxnSpPr/>
                        <p:nvPr/>
                      </p:nvCxnSpPr>
                      <p:spPr bwMode="auto">
                        <a:xfrm>
                          <a:off x="338376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</p:grpSp>
                  <p:grpSp>
                    <p:nvGrpSpPr>
                      <p:cNvPr id="73" name="Group 72"/>
                      <p:cNvGrpSpPr/>
                      <p:nvPr/>
                    </p:nvGrpSpPr>
                    <p:grpSpPr>
                      <a:xfrm>
                        <a:off x="4737452" y="3878486"/>
                        <a:ext cx="502442" cy="136026"/>
                        <a:chOff x="3383764" y="3878486"/>
                        <a:chExt cx="502442" cy="136026"/>
                      </a:xfrm>
                    </p:grpSpPr>
                    <p:cxnSp>
                      <p:nvCxnSpPr>
                        <p:cNvPr id="74" name="Straight Connector 73"/>
                        <p:cNvCxnSpPr/>
                        <p:nvPr/>
                      </p:nvCxnSpPr>
                      <p:spPr bwMode="auto">
                        <a:xfrm>
                          <a:off x="388620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75" name="Straight Connector 74"/>
                        <p:cNvCxnSpPr/>
                        <p:nvPr/>
                      </p:nvCxnSpPr>
                      <p:spPr bwMode="auto">
                        <a:xfrm>
                          <a:off x="3726663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76" name="Straight Connector 75"/>
                        <p:cNvCxnSpPr/>
                        <p:nvPr/>
                      </p:nvCxnSpPr>
                      <p:spPr bwMode="auto">
                        <a:xfrm>
                          <a:off x="3550455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77" name="Straight Connector 76"/>
                        <p:cNvCxnSpPr/>
                        <p:nvPr/>
                      </p:nvCxnSpPr>
                      <p:spPr bwMode="auto">
                        <a:xfrm>
                          <a:off x="338376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</p:grpSp>
                </p:grpSp>
                <p:grpSp>
                  <p:nvGrpSpPr>
                    <p:cNvPr id="66" name="Group 65"/>
                    <p:cNvGrpSpPr/>
                    <p:nvPr/>
                  </p:nvGrpSpPr>
                  <p:grpSpPr>
                    <a:xfrm>
                      <a:off x="5409414" y="3878486"/>
                      <a:ext cx="502442" cy="136026"/>
                      <a:chOff x="3383764" y="3878486"/>
                      <a:chExt cx="502442" cy="136026"/>
                    </a:xfrm>
                  </p:grpSpPr>
                  <p:cxnSp>
                    <p:nvCxnSpPr>
                      <p:cNvPr id="67" name="Straight Connector 66"/>
                      <p:cNvCxnSpPr/>
                      <p:nvPr/>
                    </p:nvCxnSpPr>
                    <p:spPr bwMode="auto">
                      <a:xfrm>
                        <a:off x="3886206" y="3878486"/>
                        <a:ext cx="0" cy="136026"/>
                      </a:xfrm>
                      <a:prstGeom prst="line">
                        <a:avLst/>
                      </a:prstGeom>
                      <a:solidFill>
                        <a:schemeClr val="accent1"/>
                      </a:solidFill>
                      <a:ln w="1905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  <a:extLs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cxnSp>
                  <p:cxnSp>
                    <p:nvCxnSpPr>
                      <p:cNvPr id="68" name="Straight Connector 67"/>
                      <p:cNvCxnSpPr/>
                      <p:nvPr/>
                    </p:nvCxnSpPr>
                    <p:spPr bwMode="auto">
                      <a:xfrm>
                        <a:off x="3726663" y="3878486"/>
                        <a:ext cx="0" cy="136026"/>
                      </a:xfrm>
                      <a:prstGeom prst="line">
                        <a:avLst/>
                      </a:prstGeom>
                      <a:solidFill>
                        <a:schemeClr val="accent1"/>
                      </a:solidFill>
                      <a:ln w="1905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  <a:extLs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cxnSp>
                  <p:cxnSp>
                    <p:nvCxnSpPr>
                      <p:cNvPr id="69" name="Straight Connector 68"/>
                      <p:cNvCxnSpPr/>
                      <p:nvPr/>
                    </p:nvCxnSpPr>
                    <p:spPr bwMode="auto">
                      <a:xfrm>
                        <a:off x="3550455" y="3878486"/>
                        <a:ext cx="0" cy="136026"/>
                      </a:xfrm>
                      <a:prstGeom prst="line">
                        <a:avLst/>
                      </a:prstGeom>
                      <a:solidFill>
                        <a:schemeClr val="accent1"/>
                      </a:solidFill>
                      <a:ln w="1905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  <a:extLs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cxnSp>
                  <p:cxnSp>
                    <p:nvCxnSpPr>
                      <p:cNvPr id="70" name="Straight Connector 69"/>
                      <p:cNvCxnSpPr/>
                      <p:nvPr/>
                    </p:nvCxnSpPr>
                    <p:spPr bwMode="auto">
                      <a:xfrm>
                        <a:off x="3383764" y="3878486"/>
                        <a:ext cx="0" cy="136026"/>
                      </a:xfrm>
                      <a:prstGeom prst="line">
                        <a:avLst/>
                      </a:prstGeom>
                      <a:solidFill>
                        <a:schemeClr val="accent1"/>
                      </a:solidFill>
                      <a:ln w="1905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  <a:extLs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cxnSp>
                </p:grpSp>
              </p:grpSp>
            </p:grpSp>
          </p:grpSp>
          <p:grpSp>
            <p:nvGrpSpPr>
              <p:cNvPr id="22" name="Group 21"/>
              <p:cNvGrpSpPr/>
              <p:nvPr/>
            </p:nvGrpSpPr>
            <p:grpSpPr>
              <a:xfrm>
                <a:off x="9882511" y="5347935"/>
                <a:ext cx="250039" cy="218875"/>
                <a:chOff x="7236322" y="4015525"/>
                <a:chExt cx="180448" cy="124874"/>
              </a:xfrm>
            </p:grpSpPr>
            <p:cxnSp>
              <p:nvCxnSpPr>
                <p:cNvPr id="54" name="Straight Connector 53"/>
                <p:cNvCxnSpPr/>
                <p:nvPr/>
              </p:nvCxnSpPr>
              <p:spPr bwMode="auto">
                <a:xfrm>
                  <a:off x="7270945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5" name="Straight Connector 54"/>
                <p:cNvCxnSpPr/>
                <p:nvPr/>
              </p:nvCxnSpPr>
              <p:spPr bwMode="auto">
                <a:xfrm>
                  <a:off x="7236322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6" name="Straight Connector 55"/>
                <p:cNvCxnSpPr/>
                <p:nvPr/>
              </p:nvCxnSpPr>
              <p:spPr bwMode="auto">
                <a:xfrm>
                  <a:off x="7416770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7" name="Straight Connector 56"/>
                <p:cNvCxnSpPr/>
                <p:nvPr/>
              </p:nvCxnSpPr>
              <p:spPr bwMode="auto">
                <a:xfrm>
                  <a:off x="7382147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8" name="Straight Connector 57"/>
                <p:cNvCxnSpPr/>
                <p:nvPr/>
              </p:nvCxnSpPr>
              <p:spPr bwMode="auto">
                <a:xfrm>
                  <a:off x="7343907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9" name="Straight Connector 58"/>
                <p:cNvCxnSpPr/>
                <p:nvPr/>
              </p:nvCxnSpPr>
              <p:spPr bwMode="auto">
                <a:xfrm>
                  <a:off x="7307733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cxnSp>
            <p:nvCxnSpPr>
              <p:cNvPr id="23" name="Straight Connector 22"/>
              <p:cNvCxnSpPr/>
              <p:nvPr/>
            </p:nvCxnSpPr>
            <p:spPr bwMode="auto">
              <a:xfrm>
                <a:off x="10226158" y="5347935"/>
                <a:ext cx="0" cy="218875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4" name="Straight Connector 23"/>
              <p:cNvCxnSpPr/>
              <p:nvPr/>
            </p:nvCxnSpPr>
            <p:spPr bwMode="auto">
              <a:xfrm>
                <a:off x="10178183" y="5347935"/>
                <a:ext cx="0" cy="218875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5" name="Straight Connector 24"/>
              <p:cNvCxnSpPr/>
              <p:nvPr/>
            </p:nvCxnSpPr>
            <p:spPr bwMode="auto">
              <a:xfrm>
                <a:off x="10327259" y="5347935"/>
                <a:ext cx="0" cy="218875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6" name="Straight Connector 25"/>
              <p:cNvCxnSpPr/>
              <p:nvPr/>
            </p:nvCxnSpPr>
            <p:spPr bwMode="auto">
              <a:xfrm>
                <a:off x="10277133" y="5347935"/>
                <a:ext cx="0" cy="218875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grpSp>
            <p:nvGrpSpPr>
              <p:cNvPr id="28" name="Group 27"/>
              <p:cNvGrpSpPr/>
              <p:nvPr/>
            </p:nvGrpSpPr>
            <p:grpSpPr>
              <a:xfrm>
                <a:off x="10379826" y="5347935"/>
                <a:ext cx="250039" cy="218875"/>
                <a:chOff x="7236322" y="4015525"/>
                <a:chExt cx="180448" cy="124874"/>
              </a:xfrm>
            </p:grpSpPr>
            <p:cxnSp>
              <p:nvCxnSpPr>
                <p:cNvPr id="48" name="Straight Connector 47"/>
                <p:cNvCxnSpPr/>
                <p:nvPr/>
              </p:nvCxnSpPr>
              <p:spPr bwMode="auto">
                <a:xfrm>
                  <a:off x="7270945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9" name="Straight Connector 48"/>
                <p:cNvCxnSpPr/>
                <p:nvPr/>
              </p:nvCxnSpPr>
              <p:spPr bwMode="auto">
                <a:xfrm>
                  <a:off x="7236322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0" name="Straight Connector 49"/>
                <p:cNvCxnSpPr/>
                <p:nvPr/>
              </p:nvCxnSpPr>
              <p:spPr bwMode="auto">
                <a:xfrm>
                  <a:off x="7416770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1" name="Straight Connector 50"/>
                <p:cNvCxnSpPr/>
                <p:nvPr/>
              </p:nvCxnSpPr>
              <p:spPr bwMode="auto">
                <a:xfrm>
                  <a:off x="7382147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2" name="Straight Connector 51"/>
                <p:cNvCxnSpPr/>
                <p:nvPr/>
              </p:nvCxnSpPr>
              <p:spPr bwMode="auto">
                <a:xfrm>
                  <a:off x="7343907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3" name="Straight Connector 52"/>
                <p:cNvCxnSpPr/>
                <p:nvPr/>
              </p:nvCxnSpPr>
              <p:spPr bwMode="auto">
                <a:xfrm>
                  <a:off x="7307733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29" name="Group 28"/>
              <p:cNvGrpSpPr/>
              <p:nvPr/>
            </p:nvGrpSpPr>
            <p:grpSpPr>
              <a:xfrm>
                <a:off x="10683354" y="5347931"/>
                <a:ext cx="250039" cy="218875"/>
                <a:chOff x="7236322" y="4015525"/>
                <a:chExt cx="180448" cy="124874"/>
              </a:xfrm>
            </p:grpSpPr>
            <p:cxnSp>
              <p:nvCxnSpPr>
                <p:cNvPr id="42" name="Straight Connector 41"/>
                <p:cNvCxnSpPr/>
                <p:nvPr/>
              </p:nvCxnSpPr>
              <p:spPr bwMode="auto">
                <a:xfrm>
                  <a:off x="7270945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3" name="Straight Connector 42"/>
                <p:cNvCxnSpPr/>
                <p:nvPr/>
              </p:nvCxnSpPr>
              <p:spPr bwMode="auto">
                <a:xfrm>
                  <a:off x="7236322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4" name="Straight Connector 43"/>
                <p:cNvCxnSpPr/>
                <p:nvPr/>
              </p:nvCxnSpPr>
              <p:spPr bwMode="auto">
                <a:xfrm>
                  <a:off x="7416770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5" name="Straight Connector 44"/>
                <p:cNvCxnSpPr/>
                <p:nvPr/>
              </p:nvCxnSpPr>
              <p:spPr bwMode="auto">
                <a:xfrm>
                  <a:off x="7382147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6" name="Straight Connector 45"/>
                <p:cNvCxnSpPr/>
                <p:nvPr/>
              </p:nvCxnSpPr>
              <p:spPr bwMode="auto">
                <a:xfrm>
                  <a:off x="7343907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7" name="Straight Connector 46"/>
                <p:cNvCxnSpPr/>
                <p:nvPr/>
              </p:nvCxnSpPr>
              <p:spPr bwMode="auto">
                <a:xfrm>
                  <a:off x="7307733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pic>
            <p:nvPicPr>
              <p:cNvPr id="33" name="Picture 3" descr="O:\DOKUMENT\Diensten\COM\MPR\mpr\Presentations\MYRRHA\images\radioactive.png"/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9123" y="696182"/>
                <a:ext cx="906470" cy="76333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4" name="Picture 2" descr="O:\DOKUMENT\Diensten\COM\MPR\mpr\Presentations\MYRRHA\images\time.png"/>
              <p:cNvPicPr>
                <a:picLocks noChangeAspect="1" noChangeArrowheads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959428" y="5065600"/>
                <a:ext cx="770898" cy="79229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5" name="Content Placeholder 2"/>
              <p:cNvSpPr txBox="1">
                <a:spLocks/>
              </p:cNvSpPr>
              <p:nvPr/>
            </p:nvSpPr>
            <p:spPr>
              <a:xfrm>
                <a:off x="5526368" y="3200633"/>
                <a:ext cx="2628163" cy="60204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anchor="ctr"/>
              <a:lstStyle>
                <a:lvl1pPr marL="309563" indent="-309563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rgbClr val="007DC3"/>
                  </a:buClr>
                  <a:buSzPct val="100000"/>
                  <a:buFont typeface="Wingdings" pitchFamily="2" charset="2"/>
                  <a:buChar char="l"/>
                  <a:defRPr sz="2200">
                    <a:solidFill>
                      <a:schemeClr val="tx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1pPr>
                <a:lvl2pPr marL="666750" indent="-2444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rgbClr val="11AAFF"/>
                  </a:buClr>
                  <a:buSzPct val="100000"/>
                  <a:buFont typeface="Wingdings" pitchFamily="2" charset="2"/>
                  <a:buChar char="l"/>
                  <a:defRPr sz="2000">
                    <a:solidFill>
                      <a:schemeClr val="tx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2pPr>
                <a:lvl3pPr marL="1028700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rgbClr val="8FD7FF"/>
                  </a:buClr>
                  <a:buSzPct val="100000"/>
                  <a:buFont typeface="Wingdings" pitchFamily="2" charset="2"/>
                  <a:buChar char="l"/>
                  <a:defRPr>
                    <a:solidFill>
                      <a:schemeClr val="tx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3pPr>
                <a:lvl4pPr marL="1439863" indent="-204788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4pPr>
                <a:lvl5pPr marL="18526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5pPr>
                <a:lvl6pPr marL="23098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6pPr>
                <a:lvl7pPr marL="27670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7pPr>
                <a:lvl8pPr marL="32242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8pPr>
                <a:lvl9pPr marL="36814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9pPr>
              </a:lstStyle>
              <a:p>
                <a:pPr marL="0" indent="0" algn="ctr" eaLnBrk="0" hangingPunct="0">
                  <a:spcBef>
                    <a:spcPct val="0"/>
                  </a:spcBef>
                  <a:buNone/>
                </a:pPr>
                <a:endParaRPr lang="nl-BE" sz="1800" b="1" dirty="0">
                  <a:solidFill>
                    <a:srgbClr val="FFC000"/>
                  </a:solidFill>
                  <a:latin typeface="Georgia" panose="02040502050405020303" pitchFamily="18" charset="0"/>
                </a:endParaRPr>
              </a:p>
              <a:p>
                <a:pPr marL="0" indent="0" algn="ctr" eaLnBrk="0" hangingPunct="0">
                  <a:spcBef>
                    <a:spcPct val="0"/>
                  </a:spcBef>
                  <a:buNone/>
                </a:pPr>
                <a:r>
                  <a:rPr lang="nl-BE" sz="1800" b="1" dirty="0">
                    <a:solidFill>
                      <a:srgbClr val="FFC000"/>
                    </a:solidFill>
                    <a:latin typeface="Georgia" panose="02040502050405020303" pitchFamily="18" charset="0"/>
                  </a:rPr>
                  <a:t>Recycling</a:t>
                </a:r>
              </a:p>
              <a:p>
                <a:pPr marL="0" indent="0" algn="ctr" eaLnBrk="0" hangingPunct="0">
                  <a:spcBef>
                    <a:spcPct val="0"/>
                  </a:spcBef>
                  <a:buNone/>
                </a:pPr>
                <a:r>
                  <a:rPr lang="nl-BE" sz="1800" b="1" dirty="0">
                    <a:solidFill>
                      <a:srgbClr val="FFC000"/>
                    </a:solidFill>
                    <a:latin typeface="Georgia" panose="02040502050405020303" pitchFamily="18" charset="0"/>
                  </a:rPr>
                  <a:t>(PUREX*)</a:t>
                </a:r>
              </a:p>
            </p:txBody>
          </p:sp>
          <p:sp>
            <p:nvSpPr>
              <p:cNvPr id="36" name="Content Placeholder 2"/>
              <p:cNvSpPr txBox="1">
                <a:spLocks/>
              </p:cNvSpPr>
              <p:nvPr/>
            </p:nvSpPr>
            <p:spPr>
              <a:xfrm>
                <a:off x="8815654" y="3200633"/>
                <a:ext cx="2069763" cy="60204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anchor="ctr"/>
              <a:lstStyle>
                <a:lvl1pPr marL="309563" indent="-309563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rgbClr val="007DC3"/>
                  </a:buClr>
                  <a:buSzPct val="100000"/>
                  <a:buFont typeface="Wingdings" pitchFamily="2" charset="2"/>
                  <a:buChar char="l"/>
                  <a:defRPr sz="2200">
                    <a:solidFill>
                      <a:schemeClr val="tx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1pPr>
                <a:lvl2pPr marL="666750" indent="-2444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rgbClr val="11AAFF"/>
                  </a:buClr>
                  <a:buSzPct val="100000"/>
                  <a:buFont typeface="Wingdings" pitchFamily="2" charset="2"/>
                  <a:buChar char="l"/>
                  <a:defRPr sz="2000">
                    <a:solidFill>
                      <a:schemeClr val="tx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2pPr>
                <a:lvl3pPr marL="1028700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rgbClr val="8FD7FF"/>
                  </a:buClr>
                  <a:buSzPct val="100000"/>
                  <a:buFont typeface="Wingdings" pitchFamily="2" charset="2"/>
                  <a:buChar char="l"/>
                  <a:defRPr>
                    <a:solidFill>
                      <a:schemeClr val="tx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3pPr>
                <a:lvl4pPr marL="1439863" indent="-204788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4pPr>
                <a:lvl5pPr marL="18526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5pPr>
                <a:lvl6pPr marL="23098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6pPr>
                <a:lvl7pPr marL="27670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7pPr>
                <a:lvl8pPr marL="32242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8pPr>
                <a:lvl9pPr marL="36814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9pPr>
              </a:lstStyle>
              <a:p>
                <a:pPr marL="0" marR="0" lvl="0" indent="0" algn="ctr" defTabSz="6858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3E8FCD"/>
                  </a:buClr>
                  <a:buSzPct val="100000"/>
                  <a:buFont typeface="Wingdings" pitchFamily="2" charset="2"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>
                    <a:ln w="3175"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Georgia" panose="02040502050405020303" pitchFamily="18" charset="0"/>
                  </a:rPr>
                  <a:t>No recycling</a:t>
                </a:r>
                <a:endParaRPr kumimoji="0" lang="nl-BE" sz="1800" b="1" i="0" u="none" strike="noStrike" kern="0" cap="none" spc="0" normalizeH="0" baseline="0" noProof="0" dirty="0">
                  <a:ln w="3175"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Georgia" panose="02040502050405020303" pitchFamily="18" charset="0"/>
                </a:endParaRPr>
              </a:p>
            </p:txBody>
          </p:sp>
          <p:sp>
            <p:nvSpPr>
              <p:cNvPr id="37" name="Content Placeholder 2"/>
              <p:cNvSpPr txBox="1">
                <a:spLocks/>
              </p:cNvSpPr>
              <p:nvPr/>
            </p:nvSpPr>
            <p:spPr>
              <a:xfrm rot="16200000">
                <a:off x="608952" y="2964440"/>
                <a:ext cx="1919585" cy="381533"/>
              </a:xfrm>
              <a:prstGeom prst="rect">
                <a:avLst/>
              </a:prstGeom>
              <a:noFill/>
            </p:spPr>
            <p:txBody>
              <a:bodyPr/>
              <a:lstStyle>
                <a:lvl1pPr marL="309563" indent="-309563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rgbClr val="007DC3"/>
                  </a:buClr>
                  <a:buSzPct val="100000"/>
                  <a:buFont typeface="Wingdings" pitchFamily="2" charset="2"/>
                  <a:buChar char="l"/>
                  <a:defRPr sz="2200">
                    <a:solidFill>
                      <a:schemeClr val="tx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1pPr>
                <a:lvl2pPr marL="666750" indent="-2444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rgbClr val="11AAFF"/>
                  </a:buClr>
                  <a:buSzPct val="100000"/>
                  <a:buFont typeface="Wingdings" pitchFamily="2" charset="2"/>
                  <a:buChar char="l"/>
                  <a:defRPr sz="2000">
                    <a:solidFill>
                      <a:schemeClr val="tx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2pPr>
                <a:lvl3pPr marL="1028700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rgbClr val="8FD7FF"/>
                  </a:buClr>
                  <a:buSzPct val="100000"/>
                  <a:buFont typeface="Wingdings" pitchFamily="2" charset="2"/>
                  <a:buChar char="l"/>
                  <a:defRPr>
                    <a:solidFill>
                      <a:schemeClr val="tx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3pPr>
                <a:lvl4pPr marL="1439863" indent="-204788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4pPr>
                <a:lvl5pPr marL="18526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5pPr>
                <a:lvl6pPr marL="23098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6pPr>
                <a:lvl7pPr marL="27670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7pPr>
                <a:lvl8pPr marL="32242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8pPr>
                <a:lvl9pPr marL="36814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 w="3175"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 panose="02040502050405020303" pitchFamily="18" charset="0"/>
                  </a:rPr>
                  <a:t>Radiotoxicity</a:t>
                </a:r>
              </a:p>
            </p:txBody>
          </p:sp>
          <p:sp>
            <p:nvSpPr>
              <p:cNvPr id="38" name="TextBox 37"/>
              <p:cNvSpPr txBox="1">
                <a:spLocks noChangeArrowheads="1"/>
              </p:cNvSpPr>
              <p:nvPr/>
            </p:nvSpPr>
            <p:spPr bwMode="auto">
              <a:xfrm>
                <a:off x="3262596" y="3638489"/>
                <a:ext cx="2299717" cy="884234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50800" dist="50800" dir="5400000" algn="ctr" rotWithShape="0">
                  <a:schemeClr val="bg1">
                    <a:alpha val="90000"/>
                  </a:schemeClr>
                </a:outerShdw>
              </a:effectLst>
            </p:spPr>
            <p:txBody>
              <a:bodyPr wrap="square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nl-BE" sz="1800" b="1" dirty="0">
                    <a:solidFill>
                      <a:srgbClr val="00B050"/>
                    </a:solidFill>
                    <a:latin typeface="Georgia" panose="02040502050405020303" pitchFamily="18" charset="0"/>
                  </a:rPr>
                  <a:t>Advanced Recycling 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nl-BE" sz="1800" b="1" dirty="0">
                    <a:solidFill>
                      <a:srgbClr val="00B050"/>
                    </a:solidFill>
                    <a:latin typeface="Georgia" panose="02040502050405020303" pitchFamily="18" charset="0"/>
                  </a:rPr>
                  <a:t>(P&amp;T</a:t>
                </a:r>
                <a:r>
                  <a:rPr lang="nl-BE" sz="1800" b="1" baseline="-25000" dirty="0">
                    <a:solidFill>
                      <a:srgbClr val="00B050"/>
                    </a:solidFill>
                    <a:latin typeface="Georgia" panose="02040502050405020303" pitchFamily="18" charset="0"/>
                  </a:rPr>
                  <a:t>MYRRHA</a:t>
                </a:r>
                <a:r>
                  <a:rPr lang="nl-BE" sz="1800" b="1" dirty="0">
                    <a:solidFill>
                      <a:srgbClr val="00B050"/>
                    </a:solidFill>
                    <a:latin typeface="Georgia" panose="02040502050405020303" pitchFamily="18" charset="0"/>
                  </a:rPr>
                  <a:t>)</a:t>
                </a:r>
              </a:p>
            </p:txBody>
          </p:sp>
          <p:sp>
            <p:nvSpPr>
              <p:cNvPr id="39" name="TextBox 38"/>
              <p:cNvSpPr txBox="1"/>
              <p:nvPr/>
            </p:nvSpPr>
            <p:spPr>
              <a:xfrm>
                <a:off x="5838509" y="3964710"/>
                <a:ext cx="2181711" cy="369017"/>
              </a:xfrm>
              <a:prstGeom prst="rect">
                <a:avLst/>
              </a:prstGeom>
              <a:noFill/>
            </p:spPr>
            <p:txBody>
              <a:bodyPr wrap="square" lIns="107287" tIns="53643" rIns="107287" bIns="53643" rtlCol="0">
                <a:spAutoFit/>
              </a:bodyPr>
              <a:lstStyle/>
              <a:p>
                <a:pPr marL="0" marR="0" lvl="0" indent="0" algn="ctr" defTabSz="10728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 w="3175"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Georgia" panose="02040502050405020303" pitchFamily="18" charset="0"/>
                    <a:cs typeface="Segoe UI" panose="020B0502040204020203" pitchFamily="34" charset="0"/>
                  </a:rPr>
                  <a:t>+10 000 years</a:t>
                </a:r>
              </a:p>
            </p:txBody>
          </p:sp>
          <p:sp>
            <p:nvSpPr>
              <p:cNvPr id="40" name="TextBox 39"/>
              <p:cNvSpPr txBox="1">
                <a:spLocks noChangeArrowheads="1"/>
              </p:cNvSpPr>
              <p:nvPr/>
            </p:nvSpPr>
            <p:spPr bwMode="auto">
              <a:xfrm>
                <a:off x="3713484" y="4494867"/>
                <a:ext cx="1613401" cy="353694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wrap="square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marL="0" marR="0" lvl="0" indent="0" algn="ctr" defTabSz="1072866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 w="3175"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Georgia" panose="02040502050405020303" pitchFamily="18" charset="0"/>
                    <a:cs typeface="Segoe UI" panose="020B0502040204020203" pitchFamily="34" charset="0"/>
                  </a:rPr>
                  <a:t>300 years</a:t>
                </a:r>
                <a:endParaRPr kumimoji="0" lang="en-US" sz="1800" b="1" i="0" u="none" strike="noStrike" kern="1200" cap="none" spc="0" normalizeH="0" baseline="0" noProof="0" dirty="0">
                  <a:ln w="6350">
                    <a:noFill/>
                  </a:ln>
                  <a:solidFill>
                    <a:srgbClr val="D9F1FF">
                      <a:lumMod val="75000"/>
                    </a:srgbClr>
                  </a:solidFill>
                  <a:effectLst/>
                  <a:uLnTx/>
                  <a:uFillTx/>
                  <a:latin typeface="Georgia" panose="02040502050405020303" pitchFamily="18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1" name="TextBox 40"/>
              <p:cNvSpPr txBox="1"/>
              <p:nvPr/>
            </p:nvSpPr>
            <p:spPr>
              <a:xfrm>
                <a:off x="8692998" y="3941164"/>
                <a:ext cx="2240395" cy="36901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107287" tIns="53643" rIns="107287" bIns="53643" rtlCol="0">
                <a:spAutoFit/>
              </a:bodyPr>
              <a:lstStyle/>
              <a:p>
                <a:pPr marL="0" marR="0" lvl="0" indent="0" algn="ctr" defTabSz="685800" rtl="0" eaLnBrk="1" fontAlgn="base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3E8FCD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>
                    <a:ln w="3175"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Georgia" panose="02040502050405020303" pitchFamily="18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+300 000 years</a:t>
                </a:r>
              </a:p>
            </p:txBody>
          </p:sp>
        </p:grpSp>
      </p:grpSp>
      <p:sp>
        <p:nvSpPr>
          <p:cNvPr id="173" name="TextBox 172"/>
          <p:cNvSpPr txBox="1"/>
          <p:nvPr/>
        </p:nvSpPr>
        <p:spPr>
          <a:xfrm>
            <a:off x="4232574" y="6582772"/>
            <a:ext cx="45926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Georgia" panose="02040502050405020303" pitchFamily="18" charset="0"/>
              </a:rPr>
              <a:t>* PUREX = plutonium uranium reduction extraction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84653" y="3288780"/>
            <a:ext cx="2822693" cy="280440"/>
          </a:xfrm>
          <a:prstGeom prst="rect">
            <a:avLst/>
          </a:prstGeom>
        </p:spPr>
      </p:pic>
      <p:sp>
        <p:nvSpPr>
          <p:cNvPr id="176" name="Slide Number Placeholder 1"/>
          <p:cNvSpPr txBox="1">
            <a:spLocks/>
          </p:cNvSpPr>
          <p:nvPr/>
        </p:nvSpPr>
        <p:spPr>
          <a:xfrm>
            <a:off x="9074569" y="6425873"/>
            <a:ext cx="2743200" cy="23078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14E660-BF25-4843-B2A0-93C6E2B6253B}" type="slidenum">
              <a:rPr lang="en-BE" sz="1000" b="1" smtClean="0"/>
              <a:pPr algn="r"/>
              <a:t>4</a:t>
            </a:fld>
            <a:endParaRPr lang="en-BE" sz="1000" b="1" dirty="0"/>
          </a:p>
        </p:txBody>
      </p:sp>
      <p:sp>
        <p:nvSpPr>
          <p:cNvPr id="237" name="Title 3"/>
          <p:cNvSpPr txBox="1">
            <a:spLocks/>
          </p:cNvSpPr>
          <p:nvPr/>
        </p:nvSpPr>
        <p:spPr>
          <a:xfrm>
            <a:off x="2565390" y="230650"/>
            <a:ext cx="8871349" cy="711201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Reducing the radiotoxicity</a:t>
            </a:r>
            <a:endParaRPr lang="en-US" sz="2600" b="0" i="1" dirty="0"/>
          </a:p>
        </p:txBody>
      </p:sp>
    </p:spTree>
    <p:extLst>
      <p:ext uri="{BB962C8B-B14F-4D97-AF65-F5344CB8AC3E}">
        <p14:creationId xmlns:p14="http://schemas.microsoft.com/office/powerpoint/2010/main" val="2678394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/>
          <p:cNvSpPr txBox="1">
            <a:spLocks/>
          </p:cNvSpPr>
          <p:nvPr/>
        </p:nvSpPr>
        <p:spPr>
          <a:xfrm>
            <a:off x="462270" y="287800"/>
            <a:ext cx="9550410" cy="711201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Fast neutrons for transmutation</a:t>
            </a:r>
            <a:endParaRPr lang="en-US" sz="2600" b="0" i="1" dirty="0"/>
          </a:p>
        </p:txBody>
      </p:sp>
      <p:sp>
        <p:nvSpPr>
          <p:cNvPr id="3" name="Text Placeholder 3"/>
          <p:cNvSpPr txBox="1">
            <a:spLocks/>
          </p:cNvSpPr>
          <p:nvPr/>
        </p:nvSpPr>
        <p:spPr>
          <a:xfrm>
            <a:off x="371127" y="1071853"/>
            <a:ext cx="8939212" cy="3794125"/>
          </a:xfrm>
          <a:prstGeom prst="rect">
            <a:avLst/>
          </a:prstGeom>
        </p:spPr>
        <p:txBody>
          <a:bodyPr>
            <a:normAutofit/>
          </a:bodyPr>
          <a:lstStyle>
            <a:lvl1pPr marL="355600" indent="-2667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23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6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29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ission of minor actinides </a:t>
            </a:r>
          </a:p>
          <a:p>
            <a:r>
              <a:rPr lang="en-US" dirty="0"/>
              <a:t>Resulting in radio-isotopes of lower radiotoxicity</a:t>
            </a:r>
          </a:p>
          <a:p>
            <a:endParaRPr lang="en-US" dirty="0"/>
          </a:p>
          <a:p>
            <a:r>
              <a:rPr lang="en-US" dirty="0"/>
              <a:t>Cross-section for </a:t>
            </a:r>
            <a:r>
              <a:rPr lang="en-US" dirty="0">
                <a:solidFill>
                  <a:srgbClr val="FF0000"/>
                </a:solidFill>
              </a:rPr>
              <a:t>fission</a:t>
            </a:r>
            <a:r>
              <a:rPr lang="en-US" dirty="0"/>
              <a:t> requires fast neutrons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3217" y="2968915"/>
            <a:ext cx="7281429" cy="3595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984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2608730" y="5242040"/>
            <a:ext cx="7207601" cy="372961"/>
          </a:xfrm>
          <a:prstGeom prst="rect">
            <a:avLst/>
          </a:prstGeom>
          <a:solidFill>
            <a:srgbClr val="FFFF00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727200" y="4256895"/>
            <a:ext cx="87376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re safety parameters limit the amount of MA that can be loaded in the critical core for transmutation, leading to transmutation rates of:</a:t>
            </a:r>
          </a:p>
          <a:p>
            <a:pPr marL="800080" marR="0" lvl="1" indent="-342891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R = 2 to 4 kg/</a:t>
            </a:r>
            <a:r>
              <a:rPr kumimoji="0" lang="en-US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Wh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800080" marR="0" lvl="1" indent="-342891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DS =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35 kg/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Wh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(based on a 400 </a:t>
            </a:r>
            <a:r>
              <a:rPr kumimoji="0" lang="en-US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W</a:t>
            </a:r>
            <a:r>
              <a:rPr kumimoji="0" lang="en-US" sz="2200" b="0" i="0" u="none" strike="noStrike" kern="1200" cap="none" spc="0" normalizeH="0" baseline="-2500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h</a:t>
            </a:r>
            <a:r>
              <a:rPr kumimoji="0" lang="en-US" sz="2200" b="0" i="0" u="none" strike="noStrike" kern="1200" cap="none" spc="0" normalizeH="0" baseline="-2500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FIT design)</a:t>
            </a:r>
          </a:p>
          <a:p>
            <a:pPr algn="ctr" defTabSz="1072866">
              <a:defRPr/>
            </a:pPr>
            <a:endParaRPr lang="en-US" sz="2400" b="1" dirty="0">
              <a:solidFill>
                <a:srgbClr val="00B050"/>
              </a:solidFill>
            </a:endParaRPr>
          </a:p>
          <a:p>
            <a:pPr algn="r" defTabSz="1072866">
              <a:defRPr/>
            </a:pPr>
            <a:r>
              <a:rPr lang="fr-FR" sz="1600" dirty="0"/>
              <a:t>EFIT = </a:t>
            </a:r>
            <a:r>
              <a:rPr lang="fr-FR" sz="1600" dirty="0" err="1"/>
              <a:t>European</a:t>
            </a:r>
            <a:r>
              <a:rPr lang="fr-FR" sz="1600" dirty="0"/>
              <a:t> Facility on </a:t>
            </a:r>
            <a:r>
              <a:rPr lang="fr-FR" sz="1600" dirty="0" err="1"/>
              <a:t>Industrial</a:t>
            </a:r>
            <a:r>
              <a:rPr lang="fr-FR" sz="1600" dirty="0"/>
              <a:t> </a:t>
            </a:r>
            <a:r>
              <a:rPr lang="fr-FR" sz="1600" dirty="0" err="1"/>
              <a:t>scale</a:t>
            </a:r>
            <a:r>
              <a:rPr lang="fr-FR" sz="1600" dirty="0"/>
              <a:t> Transmuter</a:t>
            </a:r>
            <a:endParaRPr lang="en-US" sz="1600" b="1" dirty="0">
              <a:solidFill>
                <a:srgbClr val="00B05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accent1"/>
                </a:solidFill>
              </a:rPr>
              <a:t>Three options for Minor Actinide (MA) transmutation</a:t>
            </a:r>
            <a:endParaRPr lang="en-US" dirty="0">
              <a:solidFill>
                <a:srgbClr val="00B050"/>
              </a:solidFill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2907959" y="2599488"/>
            <a:ext cx="1836000" cy="720000"/>
            <a:chOff x="2106384" y="3581400"/>
            <a:chExt cx="1836000" cy="720000"/>
          </a:xfrm>
        </p:grpSpPr>
        <p:sp>
          <p:nvSpPr>
            <p:cNvPr id="4" name="Rectangle 3"/>
            <p:cNvSpPr/>
            <p:nvPr/>
          </p:nvSpPr>
          <p:spPr bwMode="auto">
            <a:xfrm>
              <a:off x="2394384" y="3581400"/>
              <a:ext cx="1260000" cy="720000"/>
            </a:xfrm>
            <a:prstGeom prst="rect">
              <a:avLst/>
            </a:prstGeom>
            <a:solidFill>
              <a:srgbClr val="FF99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 pitchFamily="34" charset="0"/>
                <a:ea typeface="+mn-ea"/>
                <a:cs typeface="+mn-cs"/>
              </a:endParaRPr>
            </a:p>
          </p:txBody>
        </p:sp>
        <p:sp>
          <p:nvSpPr>
            <p:cNvPr id="5" name="Rectangle 4"/>
            <p:cNvSpPr/>
            <p:nvPr/>
          </p:nvSpPr>
          <p:spPr bwMode="auto">
            <a:xfrm>
              <a:off x="2106384" y="3581400"/>
              <a:ext cx="288000" cy="720000"/>
            </a:xfrm>
            <a:prstGeom prst="rect">
              <a:avLst/>
            </a:prstGeom>
            <a:pattFill prst="lgCheck">
              <a:fgClr>
                <a:srgbClr val="663300"/>
              </a:fgClr>
              <a:bgClr>
                <a:srgbClr val="C00000"/>
              </a:bgClr>
            </a:patt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 pitchFamily="34" charset="0"/>
                <a:ea typeface="+mn-ea"/>
                <a:cs typeface="+mn-cs"/>
              </a:endParaRP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3654384" y="3581400"/>
              <a:ext cx="288000" cy="720000"/>
            </a:xfrm>
            <a:prstGeom prst="rect">
              <a:avLst/>
            </a:prstGeom>
            <a:pattFill prst="lgCheck">
              <a:fgClr>
                <a:srgbClr val="663300"/>
              </a:fgClr>
              <a:bgClr>
                <a:srgbClr val="C00000"/>
              </a:bgClr>
            </a:patt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5348132" y="2599488"/>
            <a:ext cx="1836000" cy="720000"/>
            <a:chOff x="4555670" y="3581400"/>
            <a:chExt cx="1836000" cy="720000"/>
          </a:xfrm>
        </p:grpSpPr>
        <p:sp>
          <p:nvSpPr>
            <p:cNvPr id="9" name="Rectangle 8"/>
            <p:cNvSpPr/>
            <p:nvPr/>
          </p:nvSpPr>
          <p:spPr bwMode="auto">
            <a:xfrm>
              <a:off x="4843670" y="3581400"/>
              <a:ext cx="1260000" cy="720000"/>
            </a:xfrm>
            <a:prstGeom prst="rect">
              <a:avLst/>
            </a:prstGeom>
            <a:pattFill prst="lgCheck">
              <a:fgClr>
                <a:srgbClr val="FF9900"/>
              </a:fgClr>
              <a:bgClr>
                <a:srgbClr val="C00000"/>
              </a:bgClr>
            </a:patt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 pitchFamily="34" charset="0"/>
                <a:ea typeface="+mn-ea"/>
                <a:cs typeface="+mn-cs"/>
              </a:endParaRP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4555670" y="3581400"/>
              <a:ext cx="288000" cy="720000"/>
            </a:xfrm>
            <a:prstGeom prst="rect">
              <a:avLst/>
            </a:prstGeom>
            <a:solidFill>
              <a:srgbClr val="6633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 pitchFamily="34" charset="0"/>
                <a:ea typeface="+mn-ea"/>
                <a:cs typeface="+mn-cs"/>
              </a:endParaRPr>
            </a:p>
          </p:txBody>
        </p:sp>
        <p:sp>
          <p:nvSpPr>
            <p:cNvPr id="11" name="Rectangle 10"/>
            <p:cNvSpPr/>
            <p:nvPr/>
          </p:nvSpPr>
          <p:spPr bwMode="auto">
            <a:xfrm>
              <a:off x="6103670" y="3581400"/>
              <a:ext cx="288000" cy="720000"/>
            </a:xfrm>
            <a:prstGeom prst="rect">
              <a:avLst/>
            </a:prstGeom>
            <a:solidFill>
              <a:srgbClr val="6633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7818331" y="2599486"/>
            <a:ext cx="1836000" cy="720000"/>
            <a:chOff x="7205870" y="3581400"/>
            <a:chExt cx="1260000" cy="720000"/>
          </a:xfrm>
        </p:grpSpPr>
        <p:sp>
          <p:nvSpPr>
            <p:cNvPr id="12" name="Rectangle 11"/>
            <p:cNvSpPr/>
            <p:nvPr/>
          </p:nvSpPr>
          <p:spPr bwMode="auto">
            <a:xfrm>
              <a:off x="7205870" y="3581400"/>
              <a:ext cx="1260000" cy="720000"/>
            </a:xfrm>
            <a:prstGeom prst="rect">
              <a:avLst/>
            </a:prstGeom>
            <a:pattFill prst="solidDmnd">
              <a:fgClr>
                <a:srgbClr val="FF9900"/>
              </a:fgClr>
              <a:bgClr>
                <a:srgbClr val="C00000"/>
              </a:bgClr>
            </a:patt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 pitchFamily="34" charset="0"/>
                <a:ea typeface="+mn-ea"/>
                <a:cs typeface="+mn-cs"/>
              </a:endParaRPr>
            </a:p>
          </p:txBody>
        </p:sp>
        <p:sp>
          <p:nvSpPr>
            <p:cNvPr id="13" name="Rounded Rectangle 12"/>
            <p:cNvSpPr/>
            <p:nvPr/>
          </p:nvSpPr>
          <p:spPr bwMode="auto">
            <a:xfrm>
              <a:off x="7782363" y="3581400"/>
              <a:ext cx="107013" cy="359999"/>
            </a:xfrm>
            <a:prstGeom prst="roundRect">
              <a:avLst/>
            </a:prstGeom>
            <a:solidFill>
              <a:srgbClr val="F8F8F8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 pitchFamily="34" charset="0"/>
                <a:ea typeface="+mn-ea"/>
                <a:cs typeface="+mn-cs"/>
              </a:endParaRP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2745959" y="1759373"/>
            <a:ext cx="2160000" cy="78319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R </a:t>
            </a:r>
          </a:p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eterogeneou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186132" y="1759375"/>
            <a:ext cx="2160000" cy="78319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R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homogeneou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656331" y="1759375"/>
            <a:ext cx="2160000" cy="78319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DS</a:t>
            </a:r>
          </a:p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739497" y="3391285"/>
            <a:ext cx="2172924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river fuel</a:t>
            </a:r>
          </a:p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lanket with MA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179671" y="3391285"/>
            <a:ext cx="2172924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uel with MA</a:t>
            </a:r>
          </a:p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lanket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649870" y="3391285"/>
            <a:ext cx="2172924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uel with MA</a:t>
            </a:r>
          </a:p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8A0D01D-A595-88A5-6438-3B0F487F5CEB}"/>
              </a:ext>
            </a:extLst>
          </p:cNvPr>
          <p:cNvSpPr txBox="1"/>
          <p:nvPr/>
        </p:nvSpPr>
        <p:spPr>
          <a:xfrm>
            <a:off x="4136132" y="1255251"/>
            <a:ext cx="18582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ission Reactor</a:t>
            </a:r>
            <a:endParaRPr lang="en-150" dirty="0"/>
          </a:p>
        </p:txBody>
      </p:sp>
    </p:spTree>
    <p:extLst>
      <p:ext uri="{BB962C8B-B14F-4D97-AF65-F5344CB8AC3E}">
        <p14:creationId xmlns:p14="http://schemas.microsoft.com/office/powerpoint/2010/main" val="22802737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11768" y="-280407"/>
            <a:ext cx="11504452" cy="6472862"/>
          </a:xfrm>
          <a:prstGeom prst="rect">
            <a:avLst/>
          </a:prstGeom>
        </p:spPr>
      </p:pic>
      <p:grpSp>
        <p:nvGrpSpPr>
          <p:cNvPr id="13" name="Group 12"/>
          <p:cNvGrpSpPr/>
          <p:nvPr/>
        </p:nvGrpSpPr>
        <p:grpSpPr>
          <a:xfrm>
            <a:off x="182337" y="5309722"/>
            <a:ext cx="11827325" cy="1418433"/>
            <a:chOff x="182336" y="7877294"/>
            <a:chExt cx="11827325" cy="1418433"/>
          </a:xfrm>
        </p:grpSpPr>
        <p:sp>
          <p:nvSpPr>
            <p:cNvPr id="14" name="Oval 13"/>
            <p:cNvSpPr/>
            <p:nvPr/>
          </p:nvSpPr>
          <p:spPr>
            <a:xfrm rot="5400000">
              <a:off x="182336" y="787729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14"/>
            <p:cNvSpPr/>
            <p:nvPr/>
          </p:nvSpPr>
          <p:spPr>
            <a:xfrm rot="5400000">
              <a:off x="182336" y="847260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Oval 15"/>
            <p:cNvSpPr/>
            <p:nvPr/>
          </p:nvSpPr>
          <p:spPr>
            <a:xfrm rot="5400000">
              <a:off x="182336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/>
            <p:cNvSpPr/>
            <p:nvPr/>
          </p:nvSpPr>
          <p:spPr>
            <a:xfrm rot="5400000">
              <a:off x="483961" y="8174950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Oval 17"/>
            <p:cNvSpPr/>
            <p:nvPr/>
          </p:nvSpPr>
          <p:spPr>
            <a:xfrm rot="5400000">
              <a:off x="483961" y="847260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18"/>
            <p:cNvSpPr/>
            <p:nvPr/>
          </p:nvSpPr>
          <p:spPr>
            <a:xfrm rot="5400000">
              <a:off x="48396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Oval 24"/>
            <p:cNvSpPr/>
            <p:nvPr/>
          </p:nvSpPr>
          <p:spPr>
            <a:xfrm rot="5400000">
              <a:off x="77860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Oval 25"/>
            <p:cNvSpPr/>
            <p:nvPr/>
          </p:nvSpPr>
          <p:spPr>
            <a:xfrm rot="5400000">
              <a:off x="137092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Oval 26"/>
            <p:cNvSpPr/>
            <p:nvPr/>
          </p:nvSpPr>
          <p:spPr>
            <a:xfrm rot="5400000">
              <a:off x="166937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Oval 27"/>
            <p:cNvSpPr/>
            <p:nvPr/>
          </p:nvSpPr>
          <p:spPr>
            <a:xfrm rot="5400000">
              <a:off x="2266944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Oval 28"/>
            <p:cNvSpPr/>
            <p:nvPr/>
          </p:nvSpPr>
          <p:spPr>
            <a:xfrm rot="5400000">
              <a:off x="2565389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Oval 29"/>
            <p:cNvSpPr/>
            <p:nvPr/>
          </p:nvSpPr>
          <p:spPr>
            <a:xfrm rot="5400000">
              <a:off x="2565389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Oval 30"/>
            <p:cNvSpPr/>
            <p:nvPr/>
          </p:nvSpPr>
          <p:spPr>
            <a:xfrm rot="5400000">
              <a:off x="285983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/>
            <p:cNvSpPr/>
            <p:nvPr/>
          </p:nvSpPr>
          <p:spPr>
            <a:xfrm rot="5400000">
              <a:off x="285983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32"/>
            <p:cNvSpPr/>
            <p:nvPr/>
          </p:nvSpPr>
          <p:spPr>
            <a:xfrm rot="5400000">
              <a:off x="316365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Oval 33"/>
            <p:cNvSpPr/>
            <p:nvPr/>
          </p:nvSpPr>
          <p:spPr>
            <a:xfrm rot="5400000">
              <a:off x="316365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Oval 34"/>
            <p:cNvSpPr/>
            <p:nvPr/>
          </p:nvSpPr>
          <p:spPr>
            <a:xfrm rot="5400000">
              <a:off x="346092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Oval 35"/>
            <p:cNvSpPr/>
            <p:nvPr/>
          </p:nvSpPr>
          <p:spPr>
            <a:xfrm rot="5400000">
              <a:off x="374899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Oval 36"/>
            <p:cNvSpPr/>
            <p:nvPr/>
          </p:nvSpPr>
          <p:spPr>
            <a:xfrm rot="5400000">
              <a:off x="374899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Oval 37"/>
            <p:cNvSpPr/>
            <p:nvPr/>
          </p:nvSpPr>
          <p:spPr>
            <a:xfrm rot="5400000">
              <a:off x="4048119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Oval 38"/>
            <p:cNvSpPr/>
            <p:nvPr/>
          </p:nvSpPr>
          <p:spPr>
            <a:xfrm rot="5400000">
              <a:off x="4048119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Oval 39"/>
            <p:cNvSpPr/>
            <p:nvPr/>
          </p:nvSpPr>
          <p:spPr>
            <a:xfrm rot="5400000">
              <a:off x="4346564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Oval 40"/>
            <p:cNvSpPr/>
            <p:nvPr/>
          </p:nvSpPr>
          <p:spPr>
            <a:xfrm rot="5400000">
              <a:off x="4346564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Oval 41"/>
            <p:cNvSpPr/>
            <p:nvPr/>
          </p:nvSpPr>
          <p:spPr>
            <a:xfrm rot="5400000">
              <a:off x="464100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Oval 42"/>
            <p:cNvSpPr/>
            <p:nvPr/>
          </p:nvSpPr>
          <p:spPr>
            <a:xfrm rot="5400000">
              <a:off x="4944825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Oval 43"/>
            <p:cNvSpPr/>
            <p:nvPr/>
          </p:nvSpPr>
          <p:spPr>
            <a:xfrm rot="5400000">
              <a:off x="494482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Oval 44"/>
            <p:cNvSpPr/>
            <p:nvPr/>
          </p:nvSpPr>
          <p:spPr>
            <a:xfrm rot="5400000">
              <a:off x="5242096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Oval 45"/>
            <p:cNvSpPr/>
            <p:nvPr/>
          </p:nvSpPr>
          <p:spPr>
            <a:xfrm rot="5400000">
              <a:off x="5535386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Oval 46"/>
            <p:cNvSpPr/>
            <p:nvPr/>
          </p:nvSpPr>
          <p:spPr>
            <a:xfrm rot="5400000">
              <a:off x="5535386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Oval 47"/>
            <p:cNvSpPr/>
            <p:nvPr/>
          </p:nvSpPr>
          <p:spPr>
            <a:xfrm rot="5400000">
              <a:off x="583701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Oval 48"/>
            <p:cNvSpPr/>
            <p:nvPr/>
          </p:nvSpPr>
          <p:spPr>
            <a:xfrm rot="5400000">
              <a:off x="5837011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Oval 49"/>
            <p:cNvSpPr/>
            <p:nvPr/>
          </p:nvSpPr>
          <p:spPr>
            <a:xfrm rot="5400000">
              <a:off x="613165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Oval 50"/>
            <p:cNvSpPr/>
            <p:nvPr/>
          </p:nvSpPr>
          <p:spPr>
            <a:xfrm rot="5400000">
              <a:off x="6131651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Oval 51"/>
            <p:cNvSpPr/>
            <p:nvPr/>
          </p:nvSpPr>
          <p:spPr>
            <a:xfrm rot="5400000">
              <a:off x="6428922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Oval 52"/>
            <p:cNvSpPr/>
            <p:nvPr/>
          </p:nvSpPr>
          <p:spPr>
            <a:xfrm rot="5400000">
              <a:off x="672397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Oval 53"/>
            <p:cNvSpPr/>
            <p:nvPr/>
          </p:nvSpPr>
          <p:spPr>
            <a:xfrm rot="5400000">
              <a:off x="672397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Oval 54"/>
            <p:cNvSpPr/>
            <p:nvPr/>
          </p:nvSpPr>
          <p:spPr>
            <a:xfrm rot="5400000">
              <a:off x="702242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Oval 55"/>
            <p:cNvSpPr/>
            <p:nvPr/>
          </p:nvSpPr>
          <p:spPr>
            <a:xfrm rot="5400000">
              <a:off x="702242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Oval 56"/>
            <p:cNvSpPr/>
            <p:nvPr/>
          </p:nvSpPr>
          <p:spPr>
            <a:xfrm rot="5400000">
              <a:off x="732086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Oval 57"/>
            <p:cNvSpPr/>
            <p:nvPr/>
          </p:nvSpPr>
          <p:spPr>
            <a:xfrm rot="5400000">
              <a:off x="7619994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Oval 58"/>
            <p:cNvSpPr/>
            <p:nvPr/>
          </p:nvSpPr>
          <p:spPr>
            <a:xfrm rot="5400000">
              <a:off x="7619994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Oval 59"/>
            <p:cNvSpPr/>
            <p:nvPr/>
          </p:nvSpPr>
          <p:spPr>
            <a:xfrm rot="5400000">
              <a:off x="7918439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Oval 60"/>
            <p:cNvSpPr/>
            <p:nvPr/>
          </p:nvSpPr>
          <p:spPr>
            <a:xfrm rot="5400000">
              <a:off x="7918439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Oval 61"/>
            <p:cNvSpPr/>
            <p:nvPr/>
          </p:nvSpPr>
          <p:spPr>
            <a:xfrm rot="5400000">
              <a:off x="821288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Oval 62"/>
            <p:cNvSpPr/>
            <p:nvPr/>
          </p:nvSpPr>
          <p:spPr>
            <a:xfrm rot="5400000">
              <a:off x="821288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Oval 63"/>
            <p:cNvSpPr/>
            <p:nvPr/>
          </p:nvSpPr>
          <p:spPr>
            <a:xfrm rot="5400000">
              <a:off x="851670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Oval 64"/>
            <p:cNvSpPr/>
            <p:nvPr/>
          </p:nvSpPr>
          <p:spPr>
            <a:xfrm rot="5400000">
              <a:off x="851670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Oval 65"/>
            <p:cNvSpPr/>
            <p:nvPr/>
          </p:nvSpPr>
          <p:spPr>
            <a:xfrm rot="5400000">
              <a:off x="881397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Oval 66"/>
            <p:cNvSpPr/>
            <p:nvPr/>
          </p:nvSpPr>
          <p:spPr>
            <a:xfrm rot="5400000">
              <a:off x="910204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Oval 67"/>
            <p:cNvSpPr/>
            <p:nvPr/>
          </p:nvSpPr>
          <p:spPr>
            <a:xfrm rot="5400000">
              <a:off x="910204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Oval 68"/>
            <p:cNvSpPr/>
            <p:nvPr/>
          </p:nvSpPr>
          <p:spPr>
            <a:xfrm rot="5400000">
              <a:off x="9401169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Oval 69"/>
            <p:cNvSpPr/>
            <p:nvPr/>
          </p:nvSpPr>
          <p:spPr>
            <a:xfrm rot="5400000">
              <a:off x="9401169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Oval 70"/>
            <p:cNvSpPr/>
            <p:nvPr/>
          </p:nvSpPr>
          <p:spPr>
            <a:xfrm rot="5400000">
              <a:off x="9699614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Oval 71"/>
            <p:cNvSpPr/>
            <p:nvPr/>
          </p:nvSpPr>
          <p:spPr>
            <a:xfrm rot="5400000">
              <a:off x="9699614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Oval 72"/>
            <p:cNvSpPr/>
            <p:nvPr/>
          </p:nvSpPr>
          <p:spPr>
            <a:xfrm rot="5400000">
              <a:off x="999405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Oval 73"/>
            <p:cNvSpPr/>
            <p:nvPr/>
          </p:nvSpPr>
          <p:spPr>
            <a:xfrm rot="5400000">
              <a:off x="10297875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Oval 74"/>
            <p:cNvSpPr/>
            <p:nvPr/>
          </p:nvSpPr>
          <p:spPr>
            <a:xfrm rot="5400000">
              <a:off x="1029787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Oval 75"/>
            <p:cNvSpPr/>
            <p:nvPr/>
          </p:nvSpPr>
          <p:spPr>
            <a:xfrm rot="5400000">
              <a:off x="10595146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Oval 76"/>
            <p:cNvSpPr/>
            <p:nvPr/>
          </p:nvSpPr>
          <p:spPr>
            <a:xfrm rot="5400000">
              <a:off x="10888318" y="877026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Oval 77"/>
            <p:cNvSpPr/>
            <p:nvPr/>
          </p:nvSpPr>
          <p:spPr>
            <a:xfrm rot="5400000">
              <a:off x="10888318" y="9067920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Oval 78"/>
            <p:cNvSpPr/>
            <p:nvPr/>
          </p:nvSpPr>
          <p:spPr>
            <a:xfrm rot="5400000">
              <a:off x="11189943" y="877026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Oval 80"/>
            <p:cNvSpPr/>
            <p:nvPr/>
          </p:nvSpPr>
          <p:spPr>
            <a:xfrm rot="5400000">
              <a:off x="11484583" y="787729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" name="Oval 81"/>
            <p:cNvSpPr/>
            <p:nvPr userDrawn="1"/>
          </p:nvSpPr>
          <p:spPr>
            <a:xfrm rot="5400000">
              <a:off x="11484583" y="817495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Oval 82"/>
            <p:cNvSpPr/>
            <p:nvPr/>
          </p:nvSpPr>
          <p:spPr>
            <a:xfrm rot="5400000">
              <a:off x="11484583" y="877026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Oval 83"/>
            <p:cNvSpPr/>
            <p:nvPr/>
          </p:nvSpPr>
          <p:spPr>
            <a:xfrm rot="5400000">
              <a:off x="11781854" y="817495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Rectangle 20"/>
          <p:cNvSpPr/>
          <p:nvPr/>
        </p:nvSpPr>
        <p:spPr>
          <a:xfrm>
            <a:off x="1977609" y="5367559"/>
            <a:ext cx="3959398" cy="6463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u="none" strike="noStrike" kern="1200" cap="small" spc="0" normalizeH="0" baseline="0" noProof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cs typeface="Segoe UI" panose="020B0502040204020203" pitchFamily="34" charset="0"/>
              </a:rPr>
              <a:t>Reacto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cap="small" dirty="0">
                <a:latin typeface="Georgia" panose="02040502050405020303" pitchFamily="18" charset="0"/>
                <a:cs typeface="Segoe UI" panose="020B0502040204020203" pitchFamily="34" charset="0"/>
              </a:rPr>
              <a:t>(</a:t>
            </a:r>
            <a:r>
              <a:rPr lang="en-US" dirty="0">
                <a:latin typeface="Georgia" panose="02040502050405020303" pitchFamily="18" charset="0"/>
                <a:cs typeface="Segoe UI" panose="020B0502040204020203" pitchFamily="34" charset="0"/>
              </a:rPr>
              <a:t>Sub-critical, </a:t>
            </a:r>
            <a:r>
              <a:rPr kumimoji="0" lang="en-US" sz="1800" u="none" strike="noStrike" kern="1200" spc="0" normalizeH="0" baseline="0" noProof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cs typeface="Segoe UI" panose="020B0502040204020203" pitchFamily="34" charset="0"/>
              </a:rPr>
              <a:t>Lead-Bismuth cooled)</a:t>
            </a:r>
          </a:p>
        </p:txBody>
      </p:sp>
      <p:sp>
        <p:nvSpPr>
          <p:cNvPr id="1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</p:spPr>
        <p:txBody>
          <a:bodyPr/>
          <a:lstStyle/>
          <a:p>
            <a:fld id="{A814E660-BF25-4843-B2A0-93C6E2B6253B}" type="slidenum">
              <a:rPr lang="en-BE" smtClean="0"/>
              <a:pPr/>
              <a:t>7</a:t>
            </a:fld>
            <a:endParaRPr lang="en-BE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714" y="2932452"/>
            <a:ext cx="2070100" cy="2570373"/>
          </a:xfrm>
          <a:prstGeom prst="rect">
            <a:avLst/>
          </a:prstGeom>
        </p:spPr>
      </p:pic>
      <p:sp>
        <p:nvSpPr>
          <p:cNvPr id="89" name="Title 3"/>
          <p:cNvSpPr txBox="1">
            <a:spLocks/>
          </p:cNvSpPr>
          <p:nvPr/>
        </p:nvSpPr>
        <p:spPr>
          <a:xfrm>
            <a:off x="778264" y="230650"/>
            <a:ext cx="10658475" cy="711201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0" i="1" dirty="0"/>
              <a:t>Accelerator Driven System (ADS) </a:t>
            </a:r>
            <a:r>
              <a:rPr lang="en-US" dirty="0"/>
              <a:t>MYRRHA</a:t>
            </a:r>
            <a:br>
              <a:rPr lang="en-US" dirty="0"/>
            </a:br>
            <a:r>
              <a:rPr lang="en-US" sz="2600" b="0" i="1" dirty="0"/>
              <a:t/>
            </a:r>
            <a:br>
              <a:rPr lang="en-US" sz="2600" b="0" i="1" dirty="0"/>
            </a:br>
            <a:endParaRPr lang="en-US" sz="2600" b="0" i="1" dirty="0"/>
          </a:p>
        </p:txBody>
      </p:sp>
      <p:grpSp>
        <p:nvGrpSpPr>
          <p:cNvPr id="109" name="Group 108"/>
          <p:cNvGrpSpPr/>
          <p:nvPr/>
        </p:nvGrpSpPr>
        <p:grpSpPr>
          <a:xfrm>
            <a:off x="1515193" y="825875"/>
            <a:ext cx="10599187" cy="3547342"/>
            <a:chOff x="1515193" y="825875"/>
            <a:chExt cx="10599187" cy="3547342"/>
          </a:xfrm>
        </p:grpSpPr>
        <p:sp>
          <p:nvSpPr>
            <p:cNvPr id="20" name="Rectangle 19"/>
            <p:cNvSpPr/>
            <p:nvPr/>
          </p:nvSpPr>
          <p:spPr>
            <a:xfrm>
              <a:off x="6746651" y="825875"/>
              <a:ext cx="2834430" cy="67710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u="none" strike="noStrike" kern="1200" cap="small" spc="0" normalizeH="0" baseline="0" noProof="0" dirty="0">
                  <a:ln>
                    <a:noFill/>
                  </a:ln>
                  <a:effectLst/>
                  <a:uLnTx/>
                  <a:uFillTx/>
                  <a:latin typeface="Georgia" panose="02040502050405020303" pitchFamily="18" charset="0"/>
                  <a:cs typeface="Segoe UI" panose="020B0502040204020203" pitchFamily="34" charset="0"/>
                </a:rPr>
                <a:t>Linear accelerator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dirty="0">
                  <a:latin typeface="Georgia" panose="02040502050405020303" pitchFamily="18" charset="0"/>
                  <a:cs typeface="Segoe UI" panose="020B0502040204020203" pitchFamily="34" charset="0"/>
                </a:rPr>
                <a:t>(600 MeV)</a:t>
              </a:r>
              <a:endParaRPr kumimoji="0" lang="en-US" u="none" strike="noStrike" kern="1200" spc="0" normalizeH="0" noProof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cs typeface="Segoe UI" panose="020B0502040204020203" pitchFamily="34" charset="0"/>
              </a:endParaRPr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8326784" y="1894541"/>
              <a:ext cx="173020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/>
                <a:t>42 m</a:t>
              </a:r>
            </a:p>
          </p:txBody>
        </p:sp>
        <p:sp>
          <p:nvSpPr>
            <p:cNvPr id="4" name="Rectangle 3"/>
            <p:cNvSpPr/>
            <p:nvPr/>
          </p:nvSpPr>
          <p:spPr>
            <a:xfrm>
              <a:off x="2565390" y="3685998"/>
              <a:ext cx="9548990" cy="6872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Rectangle 86"/>
            <p:cNvSpPr/>
            <p:nvPr/>
          </p:nvSpPr>
          <p:spPr>
            <a:xfrm>
              <a:off x="3277554" y="1255505"/>
              <a:ext cx="4236910" cy="16830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Rectangle 87"/>
            <p:cNvSpPr/>
            <p:nvPr/>
          </p:nvSpPr>
          <p:spPr>
            <a:xfrm>
              <a:off x="5955511" y="2671821"/>
              <a:ext cx="112195" cy="67136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" name="Rectangle 89"/>
            <p:cNvSpPr/>
            <p:nvPr/>
          </p:nvSpPr>
          <p:spPr>
            <a:xfrm>
              <a:off x="6369330" y="2671821"/>
              <a:ext cx="140799" cy="67136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" name="Rectangle 90"/>
            <p:cNvSpPr/>
            <p:nvPr/>
          </p:nvSpPr>
          <p:spPr>
            <a:xfrm>
              <a:off x="5738855" y="2472789"/>
              <a:ext cx="793240" cy="47286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" name="Rectangle 91"/>
            <p:cNvSpPr/>
            <p:nvPr/>
          </p:nvSpPr>
          <p:spPr>
            <a:xfrm>
              <a:off x="6313740" y="2762545"/>
              <a:ext cx="0" cy="1933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" name="Straight Connector 6"/>
            <p:cNvCxnSpPr/>
            <p:nvPr/>
          </p:nvCxnSpPr>
          <p:spPr>
            <a:xfrm flipH="1">
              <a:off x="6359459" y="2969812"/>
              <a:ext cx="150670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3" name="Straight Connector 92"/>
            <p:cNvCxnSpPr/>
            <p:nvPr/>
          </p:nvCxnSpPr>
          <p:spPr>
            <a:xfrm flipH="1">
              <a:off x="5955511" y="2969812"/>
              <a:ext cx="150670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5" name="Straight Connector 94"/>
            <p:cNvCxnSpPr/>
            <p:nvPr/>
          </p:nvCxnSpPr>
          <p:spPr>
            <a:xfrm flipV="1">
              <a:off x="7780694" y="2233095"/>
              <a:ext cx="2571339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/>
            <p:cNvCxnSpPr/>
            <p:nvPr/>
          </p:nvCxnSpPr>
          <p:spPr>
            <a:xfrm>
              <a:off x="7780694" y="2140300"/>
              <a:ext cx="0" cy="18559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/>
            <p:cNvCxnSpPr/>
            <p:nvPr/>
          </p:nvCxnSpPr>
          <p:spPr>
            <a:xfrm>
              <a:off x="10352033" y="2140300"/>
              <a:ext cx="0" cy="18559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TextBox 85"/>
            <p:cNvSpPr txBox="1"/>
            <p:nvPr/>
          </p:nvSpPr>
          <p:spPr>
            <a:xfrm>
              <a:off x="4865633" y="1473602"/>
              <a:ext cx="173020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/>
                <a:t>≈360 m</a:t>
              </a:r>
            </a:p>
          </p:txBody>
        </p:sp>
        <p:cxnSp>
          <p:nvCxnSpPr>
            <p:cNvPr id="104" name="Straight Connector 103"/>
            <p:cNvCxnSpPr/>
            <p:nvPr/>
          </p:nvCxnSpPr>
          <p:spPr>
            <a:xfrm flipV="1">
              <a:off x="1519571" y="1811865"/>
              <a:ext cx="8829940" cy="3965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/>
            <p:nvPr/>
          </p:nvCxnSpPr>
          <p:spPr>
            <a:xfrm>
              <a:off x="1515193" y="1753147"/>
              <a:ext cx="0" cy="18559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/>
          </p:nvCxnSpPr>
          <p:spPr>
            <a:xfrm>
              <a:off x="10349511" y="1706868"/>
              <a:ext cx="0" cy="18559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4"/>
          <p:cNvGrpSpPr/>
          <p:nvPr/>
        </p:nvGrpSpPr>
        <p:grpSpPr>
          <a:xfrm>
            <a:off x="6973892" y="3617134"/>
            <a:ext cx="5587956" cy="2495502"/>
            <a:chOff x="173553" y="7116382"/>
            <a:chExt cx="5832952" cy="2729719"/>
          </a:xfrm>
        </p:grpSpPr>
        <p:sp>
          <p:nvSpPr>
            <p:cNvPr id="10" name="Rectangle 9"/>
            <p:cNvSpPr/>
            <p:nvPr/>
          </p:nvSpPr>
          <p:spPr>
            <a:xfrm>
              <a:off x="173553" y="7116382"/>
              <a:ext cx="4295260" cy="2729719"/>
            </a:xfrm>
            <a:prstGeom prst="rect">
              <a:avLst/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6"/>
            <p:cNvSpPr txBox="1">
              <a:spLocks noChangeArrowheads="1"/>
            </p:cNvSpPr>
            <p:nvPr/>
          </p:nvSpPr>
          <p:spPr>
            <a:xfrm>
              <a:off x="294107" y="7210703"/>
              <a:ext cx="5712398" cy="2380498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noAutofit/>
            </a:bodyPr>
            <a:lstStyle>
              <a:lvl1pPr marL="355600" indent="-266700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22300" indent="-2667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90600" indent="-2667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4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57300" indent="-2667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accent3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12900" indent="-2667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Clr>
                  <a:schemeClr val="bg1">
                    <a:lumMod val="50000"/>
                  </a:schemeClr>
                </a:buClr>
                <a:buFont typeface="Arial" panose="020B0604020202020204" pitchFamily="34" charset="0"/>
                <a:buChar char="•"/>
                <a:defRPr lang="en-US" sz="180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50000"/>
                </a:lnSpc>
                <a:buClrTx/>
                <a:buNone/>
              </a:pPr>
              <a:r>
                <a:rPr lang="en-US" sz="2000" b="1" i="1" dirty="0">
                  <a:latin typeface="Georgia" panose="02040502050405020303" pitchFamily="18" charset="0"/>
                  <a:cs typeface="Segoe UI" panose="020B0502040204020203" pitchFamily="34" charset="0"/>
                </a:rPr>
                <a:t>	Main</a:t>
              </a:r>
              <a:r>
                <a:rPr lang="en-US" sz="2000" b="1" i="1" cap="small" dirty="0">
                  <a:latin typeface="Georgia" panose="02040502050405020303" pitchFamily="18" charset="0"/>
                  <a:cs typeface="Segoe UI" panose="020B0502040204020203" pitchFamily="34" charset="0"/>
                </a:rPr>
                <a:t> O</a:t>
              </a:r>
              <a:r>
                <a:rPr lang="en-US" sz="2000" b="1" i="1" dirty="0">
                  <a:latin typeface="Georgia" panose="02040502050405020303" pitchFamily="18" charset="0"/>
                  <a:cs typeface="Segoe UI" panose="020B0502040204020203" pitchFamily="34" charset="0"/>
                </a:rPr>
                <a:t>bjectives</a:t>
              </a:r>
              <a:endParaRPr lang="en-US" sz="2000" b="1" i="1" cap="small" dirty="0">
                <a:latin typeface="Georgia" panose="02040502050405020303" pitchFamily="18" charset="0"/>
                <a:cs typeface="Segoe UI" panose="020B0502040204020203" pitchFamily="34" charset="0"/>
              </a:endParaRPr>
            </a:p>
            <a:p>
              <a:pPr>
                <a:lnSpc>
                  <a:spcPct val="150000"/>
                </a:lnSpc>
                <a:buClrTx/>
                <a:buFont typeface="Courier New" panose="02070309020205020404" pitchFamily="49" charset="0"/>
                <a:buChar char="o"/>
              </a:pPr>
              <a:r>
                <a:rPr lang="en-US" sz="2000" dirty="0">
                  <a:latin typeface="Georgia" panose="02040502050405020303" pitchFamily="18" charset="0"/>
                  <a:cs typeface="Segoe UI" panose="020B0502040204020203" pitchFamily="34" charset="0"/>
                </a:rPr>
                <a:t>Transmutation demonstration</a:t>
              </a:r>
            </a:p>
            <a:p>
              <a:pPr>
                <a:lnSpc>
                  <a:spcPct val="150000"/>
                </a:lnSpc>
                <a:buClrTx/>
                <a:buFont typeface="Courier New" panose="02070309020205020404" pitchFamily="49" charset="0"/>
                <a:buChar char="o"/>
              </a:pPr>
              <a:r>
                <a:rPr lang="en-US" sz="2000" dirty="0">
                  <a:latin typeface="Georgia" panose="02040502050405020303" pitchFamily="18" charset="0"/>
                  <a:cs typeface="Segoe UI" panose="020B0502040204020203" pitchFamily="34" charset="0"/>
                </a:rPr>
                <a:t>ADS at pre-industrial scale</a:t>
              </a:r>
            </a:p>
            <a:p>
              <a:pPr>
                <a:lnSpc>
                  <a:spcPct val="150000"/>
                </a:lnSpc>
                <a:buClrTx/>
                <a:buFont typeface="Courier New" panose="02070309020205020404" pitchFamily="49" charset="0"/>
                <a:buChar char="o"/>
              </a:pPr>
              <a:r>
                <a:rPr lang="en-US" sz="2000" dirty="0">
                  <a:latin typeface="Georgia" panose="02040502050405020303" pitchFamily="18" charset="0"/>
                  <a:cs typeface="Segoe UI" panose="020B0502040204020203" pitchFamily="34" charset="0"/>
                  <a:sym typeface="Wingdings" panose="05000000000000000000" pitchFamily="2" charset="2"/>
                </a:rPr>
                <a:t>Flexible irradiation facility</a:t>
              </a:r>
              <a:endParaRPr lang="en-US" sz="2000" dirty="0">
                <a:latin typeface="Georgia" panose="02040502050405020303" pitchFamily="18" charset="0"/>
                <a:cs typeface="Segoe UI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5066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YRRHA ADS : inherently safety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3858322" y="1512304"/>
            <a:ext cx="7909179" cy="4658101"/>
          </a:xfrm>
        </p:spPr>
        <p:txBody>
          <a:bodyPr>
            <a:normAutofit fontScale="77500" lnSpcReduction="20000"/>
          </a:bodyPr>
          <a:lstStyle/>
          <a:p>
            <a:r>
              <a:rPr lang="en-US" sz="3000" dirty="0"/>
              <a:t>Nuclear chain reaction sustained by the accelerator beam power</a:t>
            </a:r>
          </a:p>
          <a:p>
            <a:endParaRPr lang="en-US" sz="3000" dirty="0"/>
          </a:p>
          <a:p>
            <a:r>
              <a:rPr lang="en-US" sz="3000" dirty="0"/>
              <a:t>In case of issues, turning off the accelerator immediately puts the reactor in a safe state as the nuclear chain reaction dies out.</a:t>
            </a:r>
          </a:p>
          <a:p>
            <a:endParaRPr lang="en-US" sz="3000" dirty="0"/>
          </a:p>
          <a:p>
            <a:r>
              <a:rPr lang="en-US" sz="3000" dirty="0"/>
              <a:t>Based on natural circulation of the coolant by gravity between the cold Heat Exchanger (HX) and the hot core</a:t>
            </a:r>
          </a:p>
          <a:p>
            <a:endParaRPr lang="en-US" sz="3000" dirty="0"/>
          </a:p>
          <a:p>
            <a:endParaRPr lang="en-US" sz="3000" dirty="0"/>
          </a:p>
          <a:p>
            <a:pPr marL="0" indent="0">
              <a:buNone/>
            </a:pPr>
            <a:r>
              <a:rPr lang="en-US" sz="3000" b="1" dirty="0">
                <a:solidFill>
                  <a:srgbClr val="00B050"/>
                </a:solidFill>
                <a:sym typeface="Wingdings" panose="05000000000000000000" pitchFamily="2" charset="2"/>
              </a:rPr>
              <a:t> MYRRHA is inherently safe!</a:t>
            </a:r>
            <a:endParaRPr lang="en-US" sz="3000" b="1" dirty="0">
              <a:solidFill>
                <a:srgbClr val="00B050"/>
              </a:solidFill>
            </a:endParaRPr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9448800" y="6462713"/>
            <a:ext cx="2743200" cy="231775"/>
          </a:xfrm>
          <a:prstGeom prst="rect">
            <a:avLst/>
          </a:prstGeom>
        </p:spPr>
        <p:txBody>
          <a:bodyPr/>
          <a:lstStyle/>
          <a:p>
            <a:fld id="{A814E660-BF25-4843-B2A0-93C6E2B6253B}" type="slidenum">
              <a:rPr lang="en-BE" smtClean="0"/>
              <a:pPr/>
              <a:t>8</a:t>
            </a:fld>
            <a:endParaRPr lang="en-BE"/>
          </a:p>
        </p:txBody>
      </p:sp>
      <p:grpSp>
        <p:nvGrpSpPr>
          <p:cNvPr id="6" name="Group 5"/>
          <p:cNvGrpSpPr/>
          <p:nvPr/>
        </p:nvGrpSpPr>
        <p:grpSpPr>
          <a:xfrm>
            <a:off x="1439113" y="4217119"/>
            <a:ext cx="1249443" cy="1707462"/>
            <a:chOff x="2892336" y="1094341"/>
            <a:chExt cx="4158818" cy="6113282"/>
          </a:xfrm>
        </p:grpSpPr>
        <p:pic>
          <p:nvPicPr>
            <p:cNvPr id="7" name="Picture 2"/>
            <p:cNvPicPr>
              <a:picLocks noChangeAspect="1" noChangeArrowheads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824"/>
            <a:stretch/>
          </p:blipFill>
          <p:spPr bwMode="auto">
            <a:xfrm>
              <a:off x="2892336" y="1094341"/>
              <a:ext cx="4158818" cy="611328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8" name="Freccia in su 15"/>
            <p:cNvSpPr/>
            <p:nvPr/>
          </p:nvSpPr>
          <p:spPr>
            <a:xfrm>
              <a:off x="4823476" y="4029679"/>
              <a:ext cx="273358" cy="800015"/>
            </a:xfrm>
            <a:prstGeom prst="upArrow">
              <a:avLst/>
            </a:prstGeom>
            <a:gradFill rotWithShape="1">
              <a:gsLst>
                <a:gs pos="0">
                  <a:schemeClr val="accent5"/>
                </a:gs>
                <a:gs pos="100000">
                  <a:srgbClr val="FF0000"/>
                </a:gs>
              </a:gsLst>
              <a:lin ang="16200000" scaled="0"/>
            </a:gra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defTabSz="371475">
                <a:defRPr/>
              </a:pPr>
              <a:endParaRPr lang="en-US" sz="1463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9" name="Freccia in su 15"/>
            <p:cNvSpPr/>
            <p:nvPr/>
          </p:nvSpPr>
          <p:spPr>
            <a:xfrm rot="10800000">
              <a:off x="6031198" y="3599233"/>
              <a:ext cx="273358" cy="717175"/>
            </a:xfrm>
            <a:prstGeom prst="upArrow">
              <a:avLst/>
            </a:prstGeom>
            <a:gradFill rotWithShape="1">
              <a:gsLst>
                <a:gs pos="0">
                  <a:srgbClr val="FF0000"/>
                </a:gs>
                <a:gs pos="100000">
                  <a:schemeClr val="accent1"/>
                </a:gs>
              </a:gsLst>
              <a:lin ang="16200000" scaled="0"/>
            </a:gradFill>
            <a:ln w="9525" cap="flat" cmpd="sng" algn="ctr">
              <a:solidFill>
                <a:srgbClr val="4F81BD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anchor="ctr"/>
            <a:lstStyle/>
            <a:p>
              <a:pPr algn="ctr" defTabSz="371475">
                <a:defRPr/>
              </a:pPr>
              <a:endParaRPr lang="en-US" sz="1463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0" name="U-Turn Arrow 9"/>
            <p:cNvSpPr/>
            <p:nvPr/>
          </p:nvSpPr>
          <p:spPr>
            <a:xfrm rot="10800000">
              <a:off x="4823475" y="4876793"/>
              <a:ext cx="1411925" cy="622570"/>
            </a:xfrm>
            <a:prstGeom prst="uturnArrow">
              <a:avLst>
                <a:gd name="adj1" fmla="val 23438"/>
                <a:gd name="adj2" fmla="val 25000"/>
                <a:gd name="adj3" fmla="val 25000"/>
                <a:gd name="adj4" fmla="val 43750"/>
                <a:gd name="adj5" fmla="val 75000"/>
              </a:avLst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1706">
                <a:solidFill>
                  <a:schemeClr val="tx1"/>
                </a:solidFill>
              </a:endParaRPr>
            </a:p>
          </p:txBody>
        </p:sp>
        <p:sp>
          <p:nvSpPr>
            <p:cNvPr id="11" name="U-Turn Arrow 10"/>
            <p:cNvSpPr/>
            <p:nvPr/>
          </p:nvSpPr>
          <p:spPr>
            <a:xfrm>
              <a:off x="4885340" y="3072275"/>
              <a:ext cx="1419215" cy="622570"/>
            </a:xfrm>
            <a:prstGeom prst="uturnArrow">
              <a:avLst>
                <a:gd name="adj1" fmla="val 23438"/>
                <a:gd name="adj2" fmla="val 25000"/>
                <a:gd name="adj3" fmla="val 25000"/>
                <a:gd name="adj4" fmla="val 43750"/>
                <a:gd name="adj5" fmla="val 75000"/>
              </a:avLst>
            </a:prstGeom>
            <a:solidFill>
              <a:srgbClr val="FF0000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sz="1706">
                <a:solidFill>
                  <a:schemeClr val="tx1"/>
                </a:solidFill>
              </a:endParaRPr>
            </a:p>
          </p:txBody>
        </p:sp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8606" y="1074250"/>
            <a:ext cx="1623494" cy="2500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2684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814E660-BF25-4843-B2A0-93C6E2B6253B}" type="slidenum">
              <a:rPr lang="en-BE" smtClean="0"/>
              <a:pPr/>
              <a:t>9</a:t>
            </a:fld>
            <a:endParaRPr lang="en-BE" dirty="0"/>
          </a:p>
        </p:txBody>
      </p:sp>
      <p:sp>
        <p:nvSpPr>
          <p:cNvPr id="2" name="TextBox 1"/>
          <p:cNvSpPr txBox="1"/>
          <p:nvPr/>
        </p:nvSpPr>
        <p:spPr>
          <a:xfrm>
            <a:off x="3267075" y="291102"/>
            <a:ext cx="901747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Purpose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dirty="0"/>
              <a:t>ADS technology demonstrator at pre-industrial scal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dirty="0"/>
              <a:t>Flexible irradiation facility </a:t>
            </a:r>
            <a:r>
              <a:rPr lang="en-US" sz="1400" dirty="0"/>
              <a:t>(Radio isotope production, reactor fuel research, </a:t>
            </a:r>
            <a:r>
              <a:rPr lang="en-150" sz="1400" dirty="0"/>
              <a:t>…</a:t>
            </a:r>
            <a:r>
              <a:rPr lang="en-US" sz="1400" dirty="0"/>
              <a:t>)</a:t>
            </a: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At SCK CEN </a:t>
            </a:r>
            <a:r>
              <a:rPr lang="en-150" sz="2400" dirty="0"/>
              <a:t>–</a:t>
            </a:r>
            <a:r>
              <a:rPr lang="en-US" sz="2400" dirty="0"/>
              <a:t> the Belgian nuclear research cen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Pre-studies since decades</a:t>
            </a:r>
            <a:endParaRPr lang="en-US" sz="1400" dirty="0"/>
          </a:p>
        </p:txBody>
      </p:sp>
      <p:pic>
        <p:nvPicPr>
          <p:cNvPr id="171" name="Picture 17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8225" y="3970699"/>
            <a:ext cx="1634458" cy="2315338"/>
          </a:xfrm>
          <a:prstGeom prst="rect">
            <a:avLst/>
          </a:prstGeom>
        </p:spPr>
      </p:pic>
      <p:sp>
        <p:nvSpPr>
          <p:cNvPr id="173" name="Rectangle 172"/>
          <p:cNvSpPr/>
          <p:nvPr/>
        </p:nvSpPr>
        <p:spPr>
          <a:xfrm>
            <a:off x="8077727" y="4779307"/>
            <a:ext cx="213049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defRPr/>
            </a:pPr>
            <a:r>
              <a:rPr kumimoji="0" lang="en-US" sz="1800" b="1" u="none" strike="noStrike" kern="1200" cap="small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UBCRITICAL REACTOR (</a:t>
            </a:r>
            <a:r>
              <a:rPr lang="en-US" b="1" dirty="0"/>
              <a:t>~</a:t>
            </a:r>
            <a:r>
              <a:rPr kumimoji="0" lang="en-US" sz="1800" b="1" u="none" strike="noStrike" kern="1200" cap="small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70MWth)</a:t>
            </a:r>
            <a:r>
              <a:rPr kumimoji="0" lang="en-US" sz="1800" b="1" u="none" strike="noStrike" kern="1200" cap="small" spc="0" normalizeH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en-US" sz="1800" b="1" u="none" strike="noStrike" kern="1200" cap="small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4" name="Rectangle 173"/>
          <p:cNvSpPr/>
          <p:nvPr/>
        </p:nvSpPr>
        <p:spPr>
          <a:xfrm>
            <a:off x="986385" y="4994602"/>
            <a:ext cx="548152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4472C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0 </a:t>
            </a:r>
            <a:r>
              <a:rPr kumimoji="0" lang="en-US" sz="2000" b="1" u="none" strike="noStrike" kern="1200" spc="0" normalizeH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eV </a:t>
            </a:r>
            <a:r>
              <a:rPr lang="en-US" sz="2000" b="1" dirty="0">
                <a:solidFill>
                  <a:srgbClr val="4472C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ons</a:t>
            </a:r>
            <a:endParaRPr kumimoji="0" lang="en-US" sz="2000" b="1" u="none" strike="noStrike" kern="1200" spc="0" normalizeH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defRPr/>
            </a:pPr>
            <a:r>
              <a:rPr kumimoji="0" lang="en-US" sz="2000" b="1" u="none" strike="noStrike" kern="1200" spc="0" normalizeH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mA - CW</a:t>
            </a:r>
          </a:p>
          <a:p>
            <a:pPr lvl="0" algn="ctr">
              <a:defRPr/>
            </a:pPr>
            <a:r>
              <a:rPr lang="en-US" sz="2000" b="1" dirty="0">
                <a:solidFill>
                  <a:srgbClr val="4472C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BF &gt; 250h for beam trips over </a:t>
            </a:r>
            <a:r>
              <a:rPr lang="en-US" sz="2000" b="1" u="sng" dirty="0">
                <a:solidFill>
                  <a:srgbClr val="4472C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s</a:t>
            </a:r>
          </a:p>
          <a:p>
            <a:pPr lvl="0" algn="ctr">
              <a:defRPr/>
            </a:pPr>
            <a:r>
              <a:rPr lang="en-US" sz="2000" b="1" dirty="0">
                <a:solidFill>
                  <a:srgbClr val="4472C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types of SC-cavitie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802" y="3110938"/>
            <a:ext cx="10723552" cy="2451221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4486209A-2DFE-D0EB-A6A6-B707011FF7F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62801" y="446268"/>
            <a:ext cx="2726839" cy="1908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5277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SCK•CEN 2020">
      <a:dk1>
        <a:sysClr val="windowText" lastClr="000000"/>
      </a:dk1>
      <a:lt1>
        <a:sysClr val="window" lastClr="FFFFFF"/>
      </a:lt1>
      <a:dk2>
        <a:srgbClr val="515151"/>
      </a:dk2>
      <a:lt2>
        <a:srgbClr val="E7E6E6"/>
      </a:lt2>
      <a:accent1>
        <a:srgbClr val="562873"/>
      </a:accent1>
      <a:accent2>
        <a:srgbClr val="984A9C"/>
      </a:accent2>
      <a:accent3>
        <a:srgbClr val="8ED8F8"/>
      </a:accent3>
      <a:accent4>
        <a:srgbClr val="034694"/>
      </a:accent4>
      <a:accent5>
        <a:srgbClr val="CACCD0"/>
      </a:accent5>
      <a:accent6>
        <a:srgbClr val="DFE0E2"/>
      </a:accent6>
      <a:hlink>
        <a:srgbClr val="BC58AE"/>
      </a:hlink>
      <a:folHlink>
        <a:srgbClr val="501D53"/>
      </a:folHlink>
    </a:clrScheme>
    <a:fontScheme name="sckcen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Alexandria Master">
  <a:themeElements>
    <a:clrScheme name="SCK•CEN 2020">
      <a:dk1>
        <a:sysClr val="windowText" lastClr="000000"/>
      </a:dk1>
      <a:lt1>
        <a:sysClr val="window" lastClr="FFFFFF"/>
      </a:lt1>
      <a:dk2>
        <a:srgbClr val="515151"/>
      </a:dk2>
      <a:lt2>
        <a:srgbClr val="E7E6E6"/>
      </a:lt2>
      <a:accent1>
        <a:srgbClr val="562873"/>
      </a:accent1>
      <a:accent2>
        <a:srgbClr val="984A9C"/>
      </a:accent2>
      <a:accent3>
        <a:srgbClr val="8ED8F8"/>
      </a:accent3>
      <a:accent4>
        <a:srgbClr val="034694"/>
      </a:accent4>
      <a:accent5>
        <a:srgbClr val="CACCD0"/>
      </a:accent5>
      <a:accent6>
        <a:srgbClr val="DFE0E2"/>
      </a:accent6>
      <a:hlink>
        <a:srgbClr val="BC58AE"/>
      </a:hlink>
      <a:folHlink>
        <a:srgbClr val="501D53"/>
      </a:folHlink>
    </a:clrScheme>
    <a:fontScheme name="sckcen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CK•CEN 2020">
      <a:dk1>
        <a:sysClr val="windowText" lastClr="000000"/>
      </a:dk1>
      <a:lt1>
        <a:sysClr val="window" lastClr="FFFFFF"/>
      </a:lt1>
      <a:dk2>
        <a:srgbClr val="515151"/>
      </a:dk2>
      <a:lt2>
        <a:srgbClr val="E7E6E6"/>
      </a:lt2>
      <a:accent1>
        <a:srgbClr val="562873"/>
      </a:accent1>
      <a:accent2>
        <a:srgbClr val="984A9C"/>
      </a:accent2>
      <a:accent3>
        <a:srgbClr val="8ED8F8"/>
      </a:accent3>
      <a:accent4>
        <a:srgbClr val="034694"/>
      </a:accent4>
      <a:accent5>
        <a:srgbClr val="CACCD0"/>
      </a:accent5>
      <a:accent6>
        <a:srgbClr val="DFE0E2"/>
      </a:accent6>
      <a:hlink>
        <a:srgbClr val="BC58AE"/>
      </a:hlink>
      <a:folHlink>
        <a:srgbClr val="501D53"/>
      </a:folHlink>
    </a:clrScheme>
    <a:fontScheme name="sckcen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SCK•CEN 2020">
      <a:dk1>
        <a:sysClr val="windowText" lastClr="000000"/>
      </a:dk1>
      <a:lt1>
        <a:sysClr val="window" lastClr="FFFFFF"/>
      </a:lt1>
      <a:dk2>
        <a:srgbClr val="515151"/>
      </a:dk2>
      <a:lt2>
        <a:srgbClr val="E7E6E6"/>
      </a:lt2>
      <a:accent1>
        <a:srgbClr val="562873"/>
      </a:accent1>
      <a:accent2>
        <a:srgbClr val="984A9C"/>
      </a:accent2>
      <a:accent3>
        <a:srgbClr val="8ED8F8"/>
      </a:accent3>
      <a:accent4>
        <a:srgbClr val="034694"/>
      </a:accent4>
      <a:accent5>
        <a:srgbClr val="CACCD0"/>
      </a:accent5>
      <a:accent6>
        <a:srgbClr val="DFE0E2"/>
      </a:accent6>
      <a:hlink>
        <a:srgbClr val="BC58AE"/>
      </a:hlink>
      <a:folHlink>
        <a:srgbClr val="501D53"/>
      </a:folHlink>
    </a:clrScheme>
    <a:fontScheme name="sckcen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629</TotalTime>
  <Words>1934</Words>
  <Application>Microsoft Office PowerPoint</Application>
  <PresentationFormat>Widescreen</PresentationFormat>
  <Paragraphs>414</Paragraphs>
  <Slides>31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8" baseType="lpstr">
      <vt:lpstr>ＭＳ Ｐゴシック</vt:lpstr>
      <vt:lpstr>Arial</vt:lpstr>
      <vt:lpstr>Calibri</vt:lpstr>
      <vt:lpstr>Cambria Math</vt:lpstr>
      <vt:lpstr>Courier New</vt:lpstr>
      <vt:lpstr>Georgia</vt:lpstr>
      <vt:lpstr>Gill Sans</vt:lpstr>
      <vt:lpstr>Segoe UI</vt:lpstr>
      <vt:lpstr>Segoe UI Black</vt:lpstr>
      <vt:lpstr>Segoe UI Light</vt:lpstr>
      <vt:lpstr>Segoe UI Semibold</vt:lpstr>
      <vt:lpstr>Symbol</vt:lpstr>
      <vt:lpstr>Times New Roman</vt:lpstr>
      <vt:lpstr>Wingdings</vt:lpstr>
      <vt:lpstr>Office Theme</vt:lpstr>
      <vt:lpstr>Alexandria Master</vt:lpstr>
      <vt:lpstr>think-cell Slide</vt:lpstr>
      <vt:lpstr>MYRRHA and its driver accelerator</vt:lpstr>
      <vt:lpstr>Fission generates high-level radioactive waste</vt:lpstr>
      <vt:lpstr>Advanced treatment of nuclear waste Recycling of high level radioactive waste by P&amp;T </vt:lpstr>
      <vt:lpstr>PowerPoint Presentation</vt:lpstr>
      <vt:lpstr>PowerPoint Presentation</vt:lpstr>
      <vt:lpstr>Three options for Minor Actinide (MA) transmutation</vt:lpstr>
      <vt:lpstr>PowerPoint Presentation</vt:lpstr>
      <vt:lpstr>MYRRHA ADS : inherently safety</vt:lpstr>
      <vt:lpstr>PowerPoint Presentation</vt:lpstr>
      <vt:lpstr>PowerPoint Presentation</vt:lpstr>
      <vt:lpstr>PowerPoint Presentation</vt:lpstr>
      <vt:lpstr>MYRRHA, a phased approach </vt:lpstr>
      <vt:lpstr>MYRRHA reactor</vt:lpstr>
      <vt:lpstr>Resulting accelerator requirements</vt:lpstr>
      <vt:lpstr>Accelerator key design decisions</vt:lpstr>
      <vt:lpstr>PowerPoint Presentation</vt:lpstr>
      <vt:lpstr>PowerPoint Presentation</vt:lpstr>
      <vt:lpstr>Injector Teststand</vt:lpstr>
      <vt:lpstr>Injector Teststand</vt:lpstr>
      <vt:lpstr>PowerPoint Presentation</vt:lpstr>
      <vt:lpstr>Series production of SC cavities (CAV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nternational R&amp;D network (1)</vt:lpstr>
      <vt:lpstr>International R&amp;D network (2)</vt:lpstr>
      <vt:lpstr>PowerPoint Presentation</vt:lpstr>
      <vt:lpstr>PowerPoint Presentation</vt:lpstr>
      <vt:lpstr>PowerPoint Presentation</vt:lpstr>
    </vt:vector>
  </TitlesOfParts>
  <Company>SCK C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</dc:title>
  <dc:creator>Dekempeneer Erik</dc:creator>
  <cp:lastModifiedBy>Tristan Jones</cp:lastModifiedBy>
  <cp:revision>476</cp:revision>
  <cp:lastPrinted>2020-01-20T09:16:47Z</cp:lastPrinted>
  <dcterms:created xsi:type="dcterms:W3CDTF">2019-10-21T09:10:33Z</dcterms:created>
  <dcterms:modified xsi:type="dcterms:W3CDTF">2024-05-07T14:03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lexandriaPath">
    <vt:lpwstr>Enterprise:Business Workspaces:IMS Process descriptions:IMS Process Descriptions:APR-MINERVA Management of MINERVA programma:Documents (How?):MINERVA templates</vt:lpwstr>
  </property>
  <property fmtid="{D5CDD505-2E9C-101B-9397-08002B2CF9AE}" pid="3" name="ID">
    <vt:lpwstr>82455530</vt:lpwstr>
  </property>
  <property fmtid="{D5CDD505-2E9C-101B-9397-08002B2CF9AE}" pid="4" name="Name">
    <vt:lpwstr>2024-03-05 - SLHIPP workshop - Overview of the MYRRHA/MINERVA project</vt:lpwstr>
  </property>
  <property fmtid="{D5CDD505-2E9C-101B-9397-08002B2CF9AE}" pid="5" name="SuppMarkings">
    <vt:lpwstr> </vt:lpwstr>
  </property>
  <property fmtid="{D5CDD505-2E9C-101B-9397-08002B2CF9AE}" pid="6" name="Security Clearance">
    <vt:lpwstr> </vt:lpwstr>
  </property>
  <property fmtid="{D5CDD505-2E9C-101B-9397-08002B2CF9AE}" pid="7" name="HyperLink">
    <vt:lpwstr>https://ecm.sckcen.be/OTCS/llisapi.dll/open/82455530</vt:lpwstr>
  </property>
  <property fmtid="{D5CDD505-2E9C-101B-9397-08002B2CF9AE}" pid="8" name="Common Attributes_Reference Number">
    <vt:lpwstr>SCK CEN/82455530</vt:lpwstr>
  </property>
  <property fmtid="{D5CDD505-2E9C-101B-9397-08002B2CF9AE}" pid="9" name="Common Attributes_Short Reference">
    <vt:lpwstr>SCK CEN/82455530</vt:lpwstr>
  </property>
  <property fmtid="{D5CDD505-2E9C-101B-9397-08002B2CF9AE}" pid="10" name="Common Attributes_Alternative Reference">
    <vt:lpwstr> </vt:lpwstr>
  </property>
  <property fmtid="{D5CDD505-2E9C-101B-9397-08002B2CF9AE}" pid="11" name="Common Attributes_Document Type">
    <vt:lpwstr> </vt:lpwstr>
  </property>
  <property fmtid="{D5CDD505-2E9C-101B-9397-08002B2CF9AE}" pid="12" name="Common Attributes_Author_Author Name">
    <vt:lpwstr>Ulrich Dorda</vt:lpwstr>
  </property>
  <property fmtid="{D5CDD505-2E9C-101B-9397-08002B2CF9AE}" pid="13" name="Common Attributes_Author_Author Affiliation">
    <vt:lpwstr>SCK CEN</vt:lpwstr>
  </property>
  <property fmtid="{D5CDD505-2E9C-101B-9397-08002B2CF9AE}" pid="14" name="Common Attributes_Information Security Classification">
    <vt:lpwstr>Restricted</vt:lpwstr>
  </property>
  <property fmtid="{D5CDD505-2E9C-101B-9397-08002B2CF9AE}" pid="15" name="Common Attributes_ISC Motivation">
    <vt:lpwstr> </vt:lpwstr>
  </property>
  <property fmtid="{D5CDD505-2E9C-101B-9397-08002B2CF9AE}" pid="16" name="Event Attributes_Event_Event Type">
    <vt:lpwstr/>
  </property>
  <property fmtid="{D5CDD505-2E9C-101B-9397-08002B2CF9AE}" pid="17" name="Event Attributes_Event_Event Name">
    <vt:lpwstr/>
  </property>
  <property fmtid="{D5CDD505-2E9C-101B-9397-08002B2CF9AE}" pid="18" name="Event Attributes_Event_Event Start Date">
    <vt:lpwstr/>
  </property>
  <property fmtid="{D5CDD505-2E9C-101B-9397-08002B2CF9AE}" pid="19" name="Event Attributes_Event_Event End Date">
    <vt:lpwstr/>
  </property>
  <property fmtid="{D5CDD505-2E9C-101B-9397-08002B2CF9AE}" pid="20" name="Event Attributes_Event_Event Location">
    <vt:lpwstr/>
  </property>
  <property fmtid="{D5CDD505-2E9C-101B-9397-08002B2CF9AE}" pid="21" name="IMS Attributes_IMS Document Type">
    <vt:lpwstr/>
  </property>
  <property fmtid="{D5CDD505-2E9C-101B-9397-08002B2CF9AE}" pid="22" name="Common Revision Attributes_Revision Index">
    <vt:lpwstr/>
  </property>
  <property fmtid="{D5CDD505-2E9C-101B-9397-08002B2CF9AE}" pid="23" name="Common Revision Attributes_Revision Status">
    <vt:lpwstr/>
  </property>
  <property fmtid="{D5CDD505-2E9C-101B-9397-08002B2CF9AE}" pid="24" name="Common Revision Attributes_Revision Changes">
    <vt:lpwstr/>
  </property>
  <property fmtid="{D5CDD505-2E9C-101B-9397-08002B2CF9AE}" pid="25" name="CreateDate">
    <vt:filetime>2024-02-13T09:48:04Z</vt:filetime>
  </property>
</Properties>
</file>